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6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60" r:id="rId4"/>
    <p:sldMasterId id="2147484482" r:id="rId5"/>
    <p:sldMasterId id="2147483838" r:id="rId6"/>
    <p:sldMasterId id="2147483862" r:id="rId7"/>
    <p:sldMasterId id="2147484002" r:id="rId8"/>
    <p:sldMasterId id="2147484083" r:id="rId9"/>
    <p:sldMasterId id="2147484381" r:id="rId10"/>
    <p:sldMasterId id="2147484415" r:id="rId11"/>
  </p:sldMasterIdLst>
  <p:notesMasterIdLst>
    <p:notesMasterId r:id="rId19"/>
  </p:notesMasterIdLst>
  <p:sldIdLst>
    <p:sldId id="2147483501" r:id="rId12"/>
    <p:sldId id="2147473731" r:id="rId13"/>
    <p:sldId id="2147483502" r:id="rId14"/>
    <p:sldId id="2147483503" r:id="rId15"/>
    <p:sldId id="2147483504" r:id="rId16"/>
    <p:sldId id="2147483505" r:id="rId17"/>
    <p:sldId id="2147479419" r:id="rId18"/>
  </p:sldIdLst>
  <p:sldSz cx="12192000" cy="6858000"/>
  <p:notesSz cx="7010400" cy="9296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2F9205-C15C-9271-C70D-F7947F7E1179}" name="Dogias, Konstantinos" initials="" userId="S::Konstantinos.Dogias@telekom.com::70ee9f26-aa1d-4dbd-889f-d9d371a2835d" providerId="AD"/>
  <p188:author id="{7B29BC15-E719-7F0E-3876-E361D25F10C9}" name="Adelshin, Alexey" initials="AA" userId="S::Alexey.Adelshin@telekom.com::1a29f3bb-1740-43a7-bb93-24ab0203d86a" providerId="AD"/>
  <p188:author id="{F5C2024C-92D6-75EF-5FC9-4FB8B6FC4957}" name="Fotopoulou, Martina" initials="FM" userId="S::Martina.Fotopoulou@telekom.com::7adf23b4-c9ab-4ded-b282-dcfb5a294790" providerId="AD"/>
  <p188:author id="{09411450-5F66-EB02-5CF4-5F38752E04C6}" name="Fotopoulou, Martina" initials="FM" userId="S::martina.fotopoulou@telekom.com::7adf23b4-c9ab-4ded-b282-dcfb5a2947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2BA8E"/>
    <a:srgbClr val="E20374"/>
    <a:srgbClr val="1CAEB1"/>
    <a:srgbClr val="341961"/>
    <a:srgbClr val="960B6C"/>
    <a:srgbClr val="E8E8E8"/>
    <a:srgbClr val="E4DFDC"/>
    <a:srgbClr val="F3F3F3"/>
    <a:srgbClr val="8075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77"/>
    <p:restoredTop sz="94802"/>
  </p:normalViewPr>
  <p:slideViewPr>
    <p:cSldViewPr snapToGrid="0">
      <p:cViewPr varScale="1">
        <p:scale>
          <a:sx n="147" d="100"/>
          <a:sy n="147" d="100"/>
        </p:scale>
        <p:origin x="169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256196-03A7-554E-9E5B-5EFDA1E26C62}" type="datetimeFigureOut">
              <a:rPr lang="en-GR" smtClean="0"/>
              <a:t>29/11/24</a:t>
            </a:fld>
            <a:endParaRPr lang="en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BEC0643-1DAD-6249-8DDE-1579D2116D86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71690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85CF5-F958-AB5A-95CC-4D16A2CF4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Folienbildplatzhalter 1">
            <a:extLst>
              <a:ext uri="{FF2B5EF4-FFF2-40B4-BE49-F238E27FC236}">
                <a16:creationId xmlns:a16="http://schemas.microsoft.com/office/drawing/2014/main" id="{EC503AD5-D82F-E573-2DAD-0ED99719C81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76250" y="1073150"/>
            <a:ext cx="3529013" cy="19843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izenplatzhalter 2">
            <a:extLst>
              <a:ext uri="{FF2B5EF4-FFF2-40B4-BE49-F238E27FC236}">
                <a16:creationId xmlns:a16="http://schemas.microsoft.com/office/drawing/2014/main" id="{647E26BE-7294-AABA-6693-CC15E957FAC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18436" name="Foliennummernplatzhalter 3">
            <a:extLst>
              <a:ext uri="{FF2B5EF4-FFF2-40B4-BE49-F238E27FC236}">
                <a16:creationId xmlns:a16="http://schemas.microsoft.com/office/drawing/2014/main" id="{A0A4235D-4CD7-E81E-9FE2-FB916FB9013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A4DB7FC-309E-48A0-AC68-6CFBFFECB356}" type="slidenum">
              <a:rPr lang="de-DE" altLang="de-DE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3922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E780C9C-54F2-4355-8844-2AA50F6BC4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97864" y="0"/>
            <a:ext cx="6894136" cy="6858000"/>
          </a:xfrm>
          <a:custGeom>
            <a:avLst/>
            <a:gdLst>
              <a:gd name="connsiteX0" fmla="*/ 6894136 w 6894136"/>
              <a:gd name="connsiteY0" fmla="*/ 0 h 6858000"/>
              <a:gd name="connsiteX1" fmla="*/ 6894136 w 6894136"/>
              <a:gd name="connsiteY1" fmla="*/ 6858000 h 6858000"/>
              <a:gd name="connsiteX2" fmla="*/ 0 w 6894136"/>
              <a:gd name="connsiteY2" fmla="*/ 6858000 h 6858000"/>
              <a:gd name="connsiteX3" fmla="*/ 1265474 w 6894136"/>
              <a:gd name="connsiteY3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4136" h="6858000">
                <a:moveTo>
                  <a:pt x="6894136" y="0"/>
                </a:move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484313"/>
            <a:ext cx="4536000" cy="2140911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789096"/>
            <a:ext cx="453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6F9BAA1A-E911-4D42-917F-05D80DB2F2DB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7233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1FD126-04E4-4103-B3F0-0C5F4BE146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769571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98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1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4F69BE-3497-4715-B2D5-A46E84AD47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A769A84-C986-456D-93E3-D7BB98161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75168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9D2F5FC9-E9D6-48D9-94C2-3D03C76371BA}"/>
              </a:ext>
            </a:extLst>
          </p:cNvPr>
          <p:cNvSpPr/>
          <p:nvPr/>
        </p:nvSpPr>
        <p:spPr bwMode="gray">
          <a:xfrm>
            <a:off x="8184616" y="1485000"/>
            <a:ext cx="3527959" cy="5373000"/>
          </a:xfrm>
          <a:custGeom>
            <a:avLst/>
            <a:gdLst>
              <a:gd name="connsiteX0" fmla="*/ 521984 w 3527959"/>
              <a:gd name="connsiteY0" fmla="*/ 0 h 5373000"/>
              <a:gd name="connsiteX1" fmla="*/ 593943 w 3527959"/>
              <a:gd name="connsiteY1" fmla="*/ 0 h 5373000"/>
              <a:gd name="connsiteX2" fmla="*/ 2933364 w 3527959"/>
              <a:gd name="connsiteY2" fmla="*/ 0 h 5373000"/>
              <a:gd name="connsiteX3" fmla="*/ 3005323 w 3527959"/>
              <a:gd name="connsiteY3" fmla="*/ 0 h 5373000"/>
              <a:gd name="connsiteX4" fmla="*/ 3527307 w 3527959"/>
              <a:gd name="connsiteY4" fmla="*/ 522636 h 5373000"/>
              <a:gd name="connsiteX5" fmla="*/ 3527307 w 3527959"/>
              <a:gd name="connsiteY5" fmla="*/ 1800000 h 5373000"/>
              <a:gd name="connsiteX6" fmla="*/ 3527959 w 3527959"/>
              <a:gd name="connsiteY6" fmla="*/ 1800000 h 5373000"/>
              <a:gd name="connsiteX7" fmla="*/ 3527959 w 3527959"/>
              <a:gd name="connsiteY7" fmla="*/ 5373000 h 5373000"/>
              <a:gd name="connsiteX8" fmla="*/ 3456000 w 3527959"/>
              <a:gd name="connsiteY8" fmla="*/ 5373000 h 5373000"/>
              <a:gd name="connsiteX9" fmla="*/ 71959 w 3527959"/>
              <a:gd name="connsiteY9" fmla="*/ 5373000 h 5373000"/>
              <a:gd name="connsiteX10" fmla="*/ 0 w 3527959"/>
              <a:gd name="connsiteY10" fmla="*/ 5373000 h 5373000"/>
              <a:gd name="connsiteX11" fmla="*/ 0 w 3527959"/>
              <a:gd name="connsiteY11" fmla="*/ 4820371 h 5373000"/>
              <a:gd name="connsiteX12" fmla="*/ 0 w 3527959"/>
              <a:gd name="connsiteY12" fmla="*/ 1800000 h 5373000"/>
              <a:gd name="connsiteX13" fmla="*/ 0 w 3527959"/>
              <a:gd name="connsiteY13" fmla="*/ 522636 h 5373000"/>
              <a:gd name="connsiteX14" fmla="*/ 521984 w 3527959"/>
              <a:gd name="connsiteY14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527959" h="5373000">
                <a:moveTo>
                  <a:pt x="521984" y="0"/>
                </a:moveTo>
                <a:lnTo>
                  <a:pt x="593943" y="0"/>
                </a:lnTo>
                <a:lnTo>
                  <a:pt x="2933364" y="0"/>
                </a:lnTo>
                <a:lnTo>
                  <a:pt x="3005323" y="0"/>
                </a:lnTo>
                <a:cubicBezTo>
                  <a:pt x="3295749" y="0"/>
                  <a:pt x="3527525" y="235469"/>
                  <a:pt x="3527307" y="522636"/>
                </a:cubicBezTo>
                <a:lnTo>
                  <a:pt x="3527307" y="1800000"/>
                </a:lnTo>
                <a:lnTo>
                  <a:pt x="3527959" y="1800000"/>
                </a:lnTo>
                <a:lnTo>
                  <a:pt x="3527959" y="5373000"/>
                </a:lnTo>
                <a:lnTo>
                  <a:pt x="3456000" y="5373000"/>
                </a:lnTo>
                <a:lnTo>
                  <a:pt x="71959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825369-F068-4158-B374-7F0B983727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3CABB6E-BA23-427E-93AE-7C780507E8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210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588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EDF5FD-17AD-45A2-BFE4-CB2E27106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CAC558B-6BCB-4C10-847A-4ADA1E567F69}"/>
              </a:ext>
            </a:extLst>
          </p:cNvPr>
          <p:cNvSpPr/>
          <p:nvPr/>
        </p:nvSpPr>
        <p:spPr bwMode="gray">
          <a:xfrm>
            <a:off x="4295800" y="1484999"/>
            <a:ext cx="7896200" cy="4257860"/>
          </a:xfrm>
          <a:custGeom>
            <a:avLst/>
            <a:gdLst>
              <a:gd name="connsiteX0" fmla="*/ 442664 w 7896200"/>
              <a:gd name="connsiteY0" fmla="*/ 0 h 4257860"/>
              <a:gd name="connsiteX1" fmla="*/ 7560840 w 7896200"/>
              <a:gd name="connsiteY1" fmla="*/ 0 h 4257860"/>
              <a:gd name="connsiteX2" fmla="*/ 7821980 w 7896200"/>
              <a:gd name="connsiteY2" fmla="*/ 0 h 4257860"/>
              <a:gd name="connsiteX3" fmla="*/ 7896200 w 7896200"/>
              <a:gd name="connsiteY3" fmla="*/ 0 h 4257860"/>
              <a:gd name="connsiteX4" fmla="*/ 7896200 w 7896200"/>
              <a:gd name="connsiteY4" fmla="*/ 4257860 h 4257860"/>
              <a:gd name="connsiteX5" fmla="*/ 7821980 w 7896200"/>
              <a:gd name="connsiteY5" fmla="*/ 4257860 h 4257860"/>
              <a:gd name="connsiteX6" fmla="*/ 7560840 w 7896200"/>
              <a:gd name="connsiteY6" fmla="*/ 4257860 h 4257860"/>
              <a:gd name="connsiteX7" fmla="*/ 442664 w 7896200"/>
              <a:gd name="connsiteY7" fmla="*/ 4257860 h 4257860"/>
              <a:gd name="connsiteX8" fmla="*/ 0 w 7896200"/>
              <a:gd name="connsiteY8" fmla="*/ 3814543 h 4257860"/>
              <a:gd name="connsiteX9" fmla="*/ 0 w 7896200"/>
              <a:gd name="connsiteY9" fmla="*/ 443317 h 4257860"/>
              <a:gd name="connsiteX10" fmla="*/ 442664 w 7896200"/>
              <a:gd name="connsiteY10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96200" h="4257860">
                <a:moveTo>
                  <a:pt x="442664" y="0"/>
                </a:moveTo>
                <a:lnTo>
                  <a:pt x="7560840" y="0"/>
                </a:lnTo>
                <a:lnTo>
                  <a:pt x="7821980" y="0"/>
                </a:lnTo>
                <a:lnTo>
                  <a:pt x="7896200" y="0"/>
                </a:lnTo>
                <a:lnTo>
                  <a:pt x="7896200" y="4257860"/>
                </a:lnTo>
                <a:lnTo>
                  <a:pt x="7821980" y="4257860"/>
                </a:lnTo>
                <a:lnTo>
                  <a:pt x="756084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E3BC7C-32C8-437B-8F9B-716FE52AD57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6F6437-1F47-4408-837D-4CA69A8278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36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82E544-7C5C-421B-817A-832EDFE06F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951984" cy="6858000"/>
          </a:xfrm>
          <a:custGeom>
            <a:avLst/>
            <a:gdLst>
              <a:gd name="connsiteX0" fmla="*/ 0 w 5951984"/>
              <a:gd name="connsiteY0" fmla="*/ 0 h 6858000"/>
              <a:gd name="connsiteX1" fmla="*/ 5951984 w 5951984"/>
              <a:gd name="connsiteY1" fmla="*/ 0 h 6858000"/>
              <a:gd name="connsiteX2" fmla="*/ 5951984 w 5951984"/>
              <a:gd name="connsiteY2" fmla="*/ 808991 h 6858000"/>
              <a:gd name="connsiteX3" fmla="*/ 5293418 w 5951984"/>
              <a:gd name="connsiteY3" fmla="*/ 1482091 h 6858000"/>
              <a:gd name="connsiteX4" fmla="*/ 1286265 w 5951984"/>
              <a:gd name="connsiteY4" fmla="*/ 1482091 h 6858000"/>
              <a:gd name="connsiteX5" fmla="*/ 1141152 w 5951984"/>
              <a:gd name="connsiteY5" fmla="*/ 1482091 h 6858000"/>
              <a:gd name="connsiteX6" fmla="*/ 482587 w 5951984"/>
              <a:gd name="connsiteY6" fmla="*/ 2155191 h 6858000"/>
              <a:gd name="connsiteX7" fmla="*/ 482587 w 5951984"/>
              <a:gd name="connsiteY7" fmla="*/ 6858000 h 6858000"/>
              <a:gd name="connsiteX8" fmla="*/ 0 w 5951984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51984" h="6858000">
                <a:moveTo>
                  <a:pt x="0" y="0"/>
                </a:moveTo>
                <a:lnTo>
                  <a:pt x="5951984" y="0"/>
                </a:lnTo>
                <a:lnTo>
                  <a:pt x="5951984" y="808991"/>
                </a:lnTo>
                <a:cubicBezTo>
                  <a:pt x="5951984" y="1181100"/>
                  <a:pt x="5657028" y="1482091"/>
                  <a:pt x="5293418" y="1482091"/>
                </a:cubicBezTo>
                <a:lnTo>
                  <a:pt x="1286265" y="1482091"/>
                </a:lnTo>
                <a:lnTo>
                  <a:pt x="1141152" y="1482091"/>
                </a:lnTo>
                <a:cubicBezTo>
                  <a:pt x="777543" y="1482091"/>
                  <a:pt x="482587" y="1783080"/>
                  <a:pt x="482587" y="2155191"/>
                </a:cubicBezTo>
                <a:lnTo>
                  <a:pt x="4825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/>
              <a:t>White background or add </a:t>
            </a:r>
            <a:br>
              <a:rPr lang="en-US"/>
            </a:br>
            <a:r>
              <a:rPr lang="en-US"/>
              <a:t>gradient as a picture</a:t>
            </a:r>
          </a:p>
        </p:txBody>
      </p:sp>
    </p:spTree>
    <p:extLst>
      <p:ext uri="{BB962C8B-B14F-4D97-AF65-F5344CB8AC3E}">
        <p14:creationId xmlns:p14="http://schemas.microsoft.com/office/powerpoint/2010/main" val="1514044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666DA3C-926F-4EC4-9514-427BC43B16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FEC28-8502-4C97-9901-B0E5187A79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46FF63-32DD-4F94-A3B9-DEE1354F0F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03139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6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20FC-1745-4ABC-85D6-471E8EC829C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501084-378C-41A0-8852-DE0E44E8B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337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55E8CB7-F14B-4652-B6B2-A80BA2609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D87DE1D-7ACF-4AB8-AF79-18AC50E43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0551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05CD262-FAEC-4FAF-93B6-86C05CA2D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0D4A09-6BB9-4A0D-B3DF-825501C01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4413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E780C9C-54F2-4355-8844-2AA50F6BC4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97864" y="0"/>
            <a:ext cx="6894136" cy="6858000"/>
          </a:xfrm>
          <a:custGeom>
            <a:avLst/>
            <a:gdLst>
              <a:gd name="connsiteX0" fmla="*/ 6894136 w 6894136"/>
              <a:gd name="connsiteY0" fmla="*/ 0 h 6858000"/>
              <a:gd name="connsiteX1" fmla="*/ 6894136 w 6894136"/>
              <a:gd name="connsiteY1" fmla="*/ 6858000 h 6858000"/>
              <a:gd name="connsiteX2" fmla="*/ 0 w 6894136"/>
              <a:gd name="connsiteY2" fmla="*/ 6858000 h 6858000"/>
              <a:gd name="connsiteX3" fmla="*/ 1265474 w 6894136"/>
              <a:gd name="connsiteY3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4136" h="6858000">
                <a:moveTo>
                  <a:pt x="6894136" y="0"/>
                </a:move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484313"/>
            <a:ext cx="4536000" cy="2140911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789096"/>
            <a:ext cx="453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6F9BAA1A-E911-4D42-917F-05D80DB2F2DB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4F7188C1-24DB-3E50-0AE0-745C953D92FA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27448" y="1992667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53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9DF1A20-2D08-4001-ACCD-157B201C6B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"/>
            <a:ext cx="6979050" cy="6857999"/>
          </a:xfrm>
          <a:custGeom>
            <a:avLst/>
            <a:gdLst>
              <a:gd name="connsiteX0" fmla="*/ 0 w 6979050"/>
              <a:gd name="connsiteY0" fmla="*/ 0 h 6857999"/>
              <a:gd name="connsiteX1" fmla="*/ 6979050 w 6979050"/>
              <a:gd name="connsiteY1" fmla="*/ 0 h 6857999"/>
              <a:gd name="connsiteX2" fmla="*/ 5721751 w 6979050"/>
              <a:gd name="connsiteY2" fmla="*/ 6857999 h 6857999"/>
              <a:gd name="connsiteX3" fmla="*/ 5718661 w 6979050"/>
              <a:gd name="connsiteY3" fmla="*/ 6857999 h 6857999"/>
              <a:gd name="connsiteX4" fmla="*/ 0 w 6979050"/>
              <a:gd name="connsiteY4" fmla="*/ 685610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57999">
                <a:moveTo>
                  <a:pt x="0" y="0"/>
                </a:moveTo>
                <a:lnTo>
                  <a:pt x="6979050" y="0"/>
                </a:lnTo>
                <a:lnTo>
                  <a:pt x="5721751" y="6857999"/>
                </a:lnTo>
                <a:lnTo>
                  <a:pt x="5718661" y="6857999"/>
                </a:lnTo>
                <a:lnTo>
                  <a:pt x="0" y="685610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176113" y="1484313"/>
            <a:ext cx="4536000" cy="2142783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176113" y="3789096"/>
            <a:ext cx="453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8A7530A-F2BE-4960-A13F-DF414D0EA81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863DDAB7-FC39-D80B-2177-861595DDF034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5" y="476250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725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1C9843-9CCD-4707-BCAD-91FEBBD1A2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777688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981B2F9-E477-4910-B6C8-B4166311C8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76400"/>
            <a:ext cx="50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349120"/>
            <a:ext cx="5040000" cy="2160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CD1DD9C-F02A-47C8-8743-11F4261A4C3F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839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E87C846-8014-43F0-BCFB-649C50CDBD1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069183 h 6858000"/>
              <a:gd name="connsiteX3" fmla="*/ 6630185 w 12192000"/>
              <a:gd name="connsiteY3" fmla="*/ 2069183 h 6858000"/>
              <a:gd name="connsiteX4" fmla="*/ 5725212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744608" y="2348880"/>
            <a:ext cx="4968000" cy="2160000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44608" y="4672800"/>
            <a:ext cx="496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1C213A6-316B-4042-A9E0-954B2D89EE8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6B4E631C-21C0-F3E2-04E3-724DB4C60ECA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5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004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D2FF-D647-45CD-A73D-4072E12B26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248114" y="368"/>
            <a:ext cx="4943886" cy="6857632"/>
          </a:xfrm>
          <a:custGeom>
            <a:avLst/>
            <a:gdLst>
              <a:gd name="connsiteX0" fmla="*/ 4943886 w 4943886"/>
              <a:gd name="connsiteY0" fmla="*/ 0 h 6857632"/>
              <a:gd name="connsiteX1" fmla="*/ 4943886 w 4943886"/>
              <a:gd name="connsiteY1" fmla="*/ 6857632 h 6857632"/>
              <a:gd name="connsiteX2" fmla="*/ 0 w 4943886"/>
              <a:gd name="connsiteY2" fmla="*/ 6857632 h 6857632"/>
              <a:gd name="connsiteX3" fmla="*/ 1277303 w 4943886"/>
              <a:gd name="connsiteY3" fmla="*/ 586 h 685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2">
                <a:moveTo>
                  <a:pt x="4943886" y="0"/>
                </a:moveTo>
                <a:lnTo>
                  <a:pt x="4943886" y="6857632"/>
                </a:lnTo>
                <a:lnTo>
                  <a:pt x="0" y="6857632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705" y="1989160"/>
            <a:ext cx="6624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565160"/>
            <a:ext cx="662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77526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C348A62-6FBD-48EB-857E-EA302D879D3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439815" cy="6858000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86243 w 4439815"/>
              <a:gd name="connsiteY2" fmla="*/ 6858000 h 6858000"/>
              <a:gd name="connsiteX3" fmla="*/ 0 w 44398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9815" h="6858000">
                <a:moveTo>
                  <a:pt x="0" y="0"/>
                </a:moveTo>
                <a:lnTo>
                  <a:pt x="4439815" y="0"/>
                </a:lnTo>
                <a:lnTo>
                  <a:pt x="318624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2624" y="1988840"/>
            <a:ext cx="6840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72624" y="2564840"/>
            <a:ext cx="6840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488196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B0FE816-662D-4D4A-9BA2-ED66087E5A2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1150" cy="6858000"/>
          </a:xfrm>
          <a:custGeom>
            <a:avLst/>
            <a:gdLst>
              <a:gd name="connsiteX0" fmla="*/ 0 w 7281150"/>
              <a:gd name="connsiteY0" fmla="*/ 0 h 6858000"/>
              <a:gd name="connsiteX1" fmla="*/ 7281150 w 7281150"/>
              <a:gd name="connsiteY1" fmla="*/ 0 h 6858000"/>
              <a:gd name="connsiteX2" fmla="*/ 6011976 w 7281150"/>
              <a:gd name="connsiteY2" fmla="*/ 6858000 h 6858000"/>
              <a:gd name="connsiteX3" fmla="*/ 0 w 72811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1150" h="6858000">
                <a:moveTo>
                  <a:pt x="0" y="0"/>
                </a:moveTo>
                <a:lnTo>
                  <a:pt x="7281150" y="0"/>
                </a:lnTo>
                <a:lnTo>
                  <a:pt x="60119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8896"/>
            <a:ext cx="4464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50400" y="2564904"/>
            <a:ext cx="446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9344123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0769089-5068-4C15-9B22-3B1239886F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0" name="Gerader Verbinder 34">
            <a:extLst>
              <a:ext uri="{FF2B5EF4-FFF2-40B4-BE49-F238E27FC236}">
                <a16:creationId xmlns:a16="http://schemas.microsoft.com/office/drawing/2014/main" id="{2B1F3CF2-72B7-458C-91FB-CAC468766B3E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5B15501-DA39-4405-A501-B808FEEAC7B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20E6086C-F980-44D4-8F7B-4091DDC2E9E9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F60262B2-3FC0-4933-A938-8A3C6B34A7D5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B585910-715B-4A53-B6DB-D2F11724C83B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D03814F-80B6-4F95-AA09-B575532BCBF4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8660860-D3F9-4B5A-8FF3-EE882E710905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3877F4A-7091-4406-9127-67DCF4A164DF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2A3D405-9365-47F4-B065-FA28F4C28C09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5613885-F031-47F6-9EE6-97B59BF6C8E3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336CE15-2DA5-4767-9E03-49CA6669E5B9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B14636-94C8-43AE-A018-56FDBB27DB71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942DD0-8B7B-4844-8E00-A77A0694FE0C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4">
            <a:extLst>
              <a:ext uri="{FF2B5EF4-FFF2-40B4-BE49-F238E27FC236}">
                <a16:creationId xmlns:a16="http://schemas.microsoft.com/office/drawing/2014/main" id="{EAEB2504-940C-4858-823B-F837809221E5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7">
            <a:extLst>
              <a:ext uri="{FF2B5EF4-FFF2-40B4-BE49-F238E27FC236}">
                <a16:creationId xmlns:a16="http://schemas.microsoft.com/office/drawing/2014/main" id="{6FDACDB1-F571-4B51-87C2-51B68697CAEB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27260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89CEA4-0C81-4360-9410-F4CF7D802D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8AA2BF-B96A-4188-807E-4ACBAECC82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</p:spTree>
    <p:extLst>
      <p:ext uri="{BB962C8B-B14F-4D97-AF65-F5344CB8AC3E}">
        <p14:creationId xmlns:p14="http://schemas.microsoft.com/office/powerpoint/2010/main" val="403582667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1FD126-04E4-4103-B3F0-0C5F4BE146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</p:spTree>
    <p:extLst>
      <p:ext uri="{BB962C8B-B14F-4D97-AF65-F5344CB8AC3E}">
        <p14:creationId xmlns:p14="http://schemas.microsoft.com/office/powerpoint/2010/main" val="355107401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1C9843-9CCD-4707-BCAD-91FEBBD1A2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</p:spTree>
    <p:extLst>
      <p:ext uri="{BB962C8B-B14F-4D97-AF65-F5344CB8AC3E}">
        <p14:creationId xmlns:p14="http://schemas.microsoft.com/office/powerpoint/2010/main" val="3621423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645BF9-9EDA-419B-AB36-7B935620D1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DE23C-5423-48CE-8882-D6C06C2846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69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645BF9-9EDA-419B-AB36-7B935620D1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DE23C-5423-48CE-8882-D6C06C2846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79994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60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89586-28CC-47C6-B178-BBAB317550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1528BA-A52E-4337-B474-61A6A8DD5E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555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69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00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F96E58-B088-4C9A-B95A-5833E90EA5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43D715B-42D7-4FC5-83D7-9CCA39782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1178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8" name="Freeform: Shape 12">
            <a:extLst>
              <a:ext uri="{FF2B5EF4-FFF2-40B4-BE49-F238E27FC236}">
                <a16:creationId xmlns:a16="http://schemas.microsoft.com/office/drawing/2014/main" id="{9D0862D2-AED8-4E0B-92B3-CB48CC15A0E0}"/>
              </a:ext>
            </a:extLst>
          </p:cNvPr>
          <p:cNvSpPr/>
          <p:nvPr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1D49593-9508-492B-90C5-F09125A9C1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C7C8EAF-3E10-43D6-9B69-D139BF64DF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reeform: Shape 11">
            <a:extLst>
              <a:ext uri="{FF2B5EF4-FFF2-40B4-BE49-F238E27FC236}">
                <a16:creationId xmlns:a16="http://schemas.microsoft.com/office/drawing/2014/main" id="{AC1D7B55-1CE7-87E4-BCBA-7561FC3DA16A}"/>
              </a:ext>
            </a:extLst>
          </p:cNvPr>
          <p:cNvSpPr/>
          <p:nvPr userDrawn="1"/>
        </p:nvSpPr>
        <p:spPr bwMode="gray">
          <a:xfrm>
            <a:off x="8184616" y="1485000"/>
            <a:ext cx="3527959" cy="5373000"/>
          </a:xfrm>
          <a:custGeom>
            <a:avLst/>
            <a:gdLst>
              <a:gd name="connsiteX0" fmla="*/ 521984 w 3527959"/>
              <a:gd name="connsiteY0" fmla="*/ 0 h 5373000"/>
              <a:gd name="connsiteX1" fmla="*/ 593943 w 3527959"/>
              <a:gd name="connsiteY1" fmla="*/ 0 h 5373000"/>
              <a:gd name="connsiteX2" fmla="*/ 2933364 w 3527959"/>
              <a:gd name="connsiteY2" fmla="*/ 0 h 5373000"/>
              <a:gd name="connsiteX3" fmla="*/ 3005323 w 3527959"/>
              <a:gd name="connsiteY3" fmla="*/ 0 h 5373000"/>
              <a:gd name="connsiteX4" fmla="*/ 3527307 w 3527959"/>
              <a:gd name="connsiteY4" fmla="*/ 522636 h 5373000"/>
              <a:gd name="connsiteX5" fmla="*/ 3527307 w 3527959"/>
              <a:gd name="connsiteY5" fmla="*/ 1800000 h 5373000"/>
              <a:gd name="connsiteX6" fmla="*/ 3527959 w 3527959"/>
              <a:gd name="connsiteY6" fmla="*/ 1800000 h 5373000"/>
              <a:gd name="connsiteX7" fmla="*/ 3527959 w 3527959"/>
              <a:gd name="connsiteY7" fmla="*/ 5373000 h 5373000"/>
              <a:gd name="connsiteX8" fmla="*/ 3456000 w 3527959"/>
              <a:gd name="connsiteY8" fmla="*/ 5373000 h 5373000"/>
              <a:gd name="connsiteX9" fmla="*/ 71959 w 3527959"/>
              <a:gd name="connsiteY9" fmla="*/ 5373000 h 5373000"/>
              <a:gd name="connsiteX10" fmla="*/ 0 w 3527959"/>
              <a:gd name="connsiteY10" fmla="*/ 5373000 h 5373000"/>
              <a:gd name="connsiteX11" fmla="*/ 0 w 3527959"/>
              <a:gd name="connsiteY11" fmla="*/ 4820371 h 5373000"/>
              <a:gd name="connsiteX12" fmla="*/ 0 w 3527959"/>
              <a:gd name="connsiteY12" fmla="*/ 1800000 h 5373000"/>
              <a:gd name="connsiteX13" fmla="*/ 0 w 3527959"/>
              <a:gd name="connsiteY13" fmla="*/ 522636 h 5373000"/>
              <a:gd name="connsiteX14" fmla="*/ 521984 w 3527959"/>
              <a:gd name="connsiteY14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527959" h="5373000">
                <a:moveTo>
                  <a:pt x="521984" y="0"/>
                </a:moveTo>
                <a:lnTo>
                  <a:pt x="593943" y="0"/>
                </a:lnTo>
                <a:lnTo>
                  <a:pt x="2933364" y="0"/>
                </a:lnTo>
                <a:lnTo>
                  <a:pt x="3005323" y="0"/>
                </a:lnTo>
                <a:cubicBezTo>
                  <a:pt x="3295749" y="0"/>
                  <a:pt x="3527525" y="235469"/>
                  <a:pt x="3527307" y="522636"/>
                </a:cubicBezTo>
                <a:lnTo>
                  <a:pt x="3527307" y="1800000"/>
                </a:lnTo>
                <a:lnTo>
                  <a:pt x="3527959" y="1800000"/>
                </a:lnTo>
                <a:lnTo>
                  <a:pt x="3527959" y="5373000"/>
                </a:lnTo>
                <a:lnTo>
                  <a:pt x="3456000" y="5373000"/>
                </a:lnTo>
                <a:lnTo>
                  <a:pt x="71959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427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4588"/>
            <a:ext cx="3528000" cy="489716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2A89A98-38F0-4125-B055-9C860DA9FC1A}"/>
              </a:ext>
            </a:extLst>
          </p:cNvPr>
          <p:cNvSpPr/>
          <p:nvPr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FBB1CA-C61D-4A97-B9D5-A805CCF931E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F85986-C820-4AB9-8209-3195C3E49A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reeform: Shape 11">
            <a:extLst>
              <a:ext uri="{FF2B5EF4-FFF2-40B4-BE49-F238E27FC236}">
                <a16:creationId xmlns:a16="http://schemas.microsoft.com/office/drawing/2014/main" id="{C938BFA8-6077-5CEF-D989-6AB27F74228E}"/>
              </a:ext>
            </a:extLst>
          </p:cNvPr>
          <p:cNvSpPr/>
          <p:nvPr userDrawn="1"/>
        </p:nvSpPr>
        <p:spPr bwMode="gray">
          <a:xfrm>
            <a:off x="4295800" y="1484999"/>
            <a:ext cx="7896200" cy="4257860"/>
          </a:xfrm>
          <a:custGeom>
            <a:avLst/>
            <a:gdLst>
              <a:gd name="connsiteX0" fmla="*/ 442664 w 7896200"/>
              <a:gd name="connsiteY0" fmla="*/ 0 h 4257860"/>
              <a:gd name="connsiteX1" fmla="*/ 7560840 w 7896200"/>
              <a:gd name="connsiteY1" fmla="*/ 0 h 4257860"/>
              <a:gd name="connsiteX2" fmla="*/ 7821980 w 7896200"/>
              <a:gd name="connsiteY2" fmla="*/ 0 h 4257860"/>
              <a:gd name="connsiteX3" fmla="*/ 7896200 w 7896200"/>
              <a:gd name="connsiteY3" fmla="*/ 0 h 4257860"/>
              <a:gd name="connsiteX4" fmla="*/ 7896200 w 7896200"/>
              <a:gd name="connsiteY4" fmla="*/ 4257860 h 4257860"/>
              <a:gd name="connsiteX5" fmla="*/ 7821980 w 7896200"/>
              <a:gd name="connsiteY5" fmla="*/ 4257860 h 4257860"/>
              <a:gd name="connsiteX6" fmla="*/ 7560840 w 7896200"/>
              <a:gd name="connsiteY6" fmla="*/ 4257860 h 4257860"/>
              <a:gd name="connsiteX7" fmla="*/ 442664 w 7896200"/>
              <a:gd name="connsiteY7" fmla="*/ 4257860 h 4257860"/>
              <a:gd name="connsiteX8" fmla="*/ 0 w 7896200"/>
              <a:gd name="connsiteY8" fmla="*/ 3814543 h 4257860"/>
              <a:gd name="connsiteX9" fmla="*/ 0 w 7896200"/>
              <a:gd name="connsiteY9" fmla="*/ 443317 h 4257860"/>
              <a:gd name="connsiteX10" fmla="*/ 442664 w 7896200"/>
              <a:gd name="connsiteY10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96200" h="4257860">
                <a:moveTo>
                  <a:pt x="442664" y="0"/>
                </a:moveTo>
                <a:lnTo>
                  <a:pt x="7560840" y="0"/>
                </a:lnTo>
                <a:lnTo>
                  <a:pt x="7821980" y="0"/>
                </a:lnTo>
                <a:lnTo>
                  <a:pt x="7896200" y="0"/>
                </a:lnTo>
                <a:lnTo>
                  <a:pt x="7896200" y="4257860"/>
                </a:lnTo>
                <a:lnTo>
                  <a:pt x="7821980" y="4257860"/>
                </a:lnTo>
                <a:lnTo>
                  <a:pt x="756084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930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38C1338-03E2-479A-84CD-1A9C778CC6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920536" y="0"/>
            <a:ext cx="1271464" cy="6858000"/>
          </a:xfrm>
          <a:custGeom>
            <a:avLst/>
            <a:gdLst>
              <a:gd name="connsiteX0" fmla="*/ 1271464 w 1271464"/>
              <a:gd name="connsiteY0" fmla="*/ 0 h 6858000"/>
              <a:gd name="connsiteX1" fmla="*/ 1271464 w 1271464"/>
              <a:gd name="connsiteY1" fmla="*/ 6858000 h 6858000"/>
              <a:gd name="connsiteX2" fmla="*/ 0 w 1271464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1464" h="6858000">
                <a:moveTo>
                  <a:pt x="1271464" y="0"/>
                </a:move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620000" bIns="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</a:t>
            </a:r>
            <a:br>
              <a:rPr lang="en-US"/>
            </a:br>
            <a:r>
              <a:rPr lang="en-US"/>
              <a:t>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4800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</p:spTree>
    <p:extLst>
      <p:ext uri="{BB962C8B-B14F-4D97-AF65-F5344CB8AC3E}">
        <p14:creationId xmlns:p14="http://schemas.microsoft.com/office/powerpoint/2010/main" val="1205987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D8C59-AB08-4E68-ABC5-054B8E96A1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ABB7E4-4C03-4625-A9FD-0653E9CDEE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8806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5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2B3D04-CC57-411E-8F02-823234E22B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E116DD-4D66-41B8-8695-AE80DF78ED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731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3C2C57A-9E9C-4D5E-A671-30A26FCD5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4D60B8-EBC4-4141-8E22-C02E87953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3244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DF5307-E60A-4BDF-B8C6-709DBA494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E5E996-493D-48DC-9368-0094BFC4E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0297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928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60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89586-28CC-47C6-B178-BBAB317550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1528BA-A52E-4337-B474-61A6A8DD5E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596150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97421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120FA820-7A85-DFA6-E04B-3AB586D8C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62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0FA820-7A85-DFA6-E04B-3AB586D8C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" name="Grafik 53">
            <a:extLst>
              <a:ext uri="{FF2B5EF4-FFF2-40B4-BE49-F238E27FC236}">
                <a16:creationId xmlns:a16="http://schemas.microsoft.com/office/drawing/2014/main" id="{4DEEEEEC-9EFB-C295-8C52-7E08123AB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5443" r="20438" b="28183"/>
          <a:stretch/>
        </p:blipFill>
        <p:spPr>
          <a:xfrm>
            <a:off x="4316676" y="1"/>
            <a:ext cx="7891901" cy="68580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75BD7B2A-B16B-971B-BA61-0C45990D3BD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8000" y="1944000"/>
            <a:ext cx="4781383" cy="2700000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03A82F72-2F53-4471-037B-2C2FFE3308F4}"/>
              </a:ext>
            </a:extLst>
          </p:cNvPr>
          <p:cNvSpPr txBox="1"/>
          <p:nvPr userDrawn="1"/>
        </p:nvSpPr>
        <p:spPr>
          <a:xfrm>
            <a:off x="1386000" y="4698000"/>
            <a:ext cx="3888432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1990" b="1" i="1">
                <a:solidFill>
                  <a:schemeClr val="bg1"/>
                </a:solidFill>
              </a:rPr>
              <a:t>Seid dabei – jede Perspektive zählt!</a:t>
            </a:r>
            <a:endParaRPr lang="en-US" sz="1990" b="1" i="1">
              <a:solidFill>
                <a:schemeClr val="bg1"/>
              </a:solidFill>
            </a:endParaRPr>
          </a:p>
        </p:txBody>
      </p:sp>
      <p:sp>
        <p:nvSpPr>
          <p:cNvPr id="57" name="Freeform 5">
            <a:extLst>
              <a:ext uri="{FF2B5EF4-FFF2-40B4-BE49-F238E27FC236}">
                <a16:creationId xmlns:a16="http://schemas.microsoft.com/office/drawing/2014/main" id="{AA381428-D9EB-6A63-635B-650A256C5766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291696" y="5839405"/>
            <a:ext cx="619728" cy="737796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DABAF94F-DA69-CC75-CF96-5D780CA6D270}"/>
              </a:ext>
            </a:extLst>
          </p:cNvPr>
          <p:cNvGrpSpPr/>
          <p:nvPr userDrawn="1"/>
        </p:nvGrpSpPr>
        <p:grpSpPr>
          <a:xfrm>
            <a:off x="132700" y="251936"/>
            <a:ext cx="7919894" cy="1134120"/>
            <a:chOff x="132700" y="251936"/>
            <a:chExt cx="7919894" cy="1134120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19EB0788-EF49-B6CF-0487-9C456138EFA7}"/>
                </a:ext>
              </a:extLst>
            </p:cNvPr>
            <p:cNvSpPr/>
            <p:nvPr/>
          </p:nvSpPr>
          <p:spPr>
            <a:xfrm>
              <a:off x="3930551" y="347529"/>
              <a:ext cx="421032" cy="393810"/>
            </a:xfrm>
            <a:custGeom>
              <a:avLst/>
              <a:gdLst>
                <a:gd name="connsiteX0" fmla="*/ 421032 w 421032"/>
                <a:gd name="connsiteY0" fmla="*/ 110354 h 393810"/>
                <a:gd name="connsiteX1" fmla="*/ 420074 w 421032"/>
                <a:gd name="connsiteY1" fmla="*/ 95465 h 393810"/>
                <a:gd name="connsiteX2" fmla="*/ 419818 w 421032"/>
                <a:gd name="connsiteY2" fmla="*/ 93804 h 393810"/>
                <a:gd name="connsiteX3" fmla="*/ 416368 w 421032"/>
                <a:gd name="connsiteY3" fmla="*/ 79554 h 393810"/>
                <a:gd name="connsiteX4" fmla="*/ 415984 w 421032"/>
                <a:gd name="connsiteY4" fmla="*/ 78404 h 393810"/>
                <a:gd name="connsiteX5" fmla="*/ 410936 w 421032"/>
                <a:gd name="connsiteY5" fmla="*/ 65113 h 393810"/>
                <a:gd name="connsiteX6" fmla="*/ 410361 w 421032"/>
                <a:gd name="connsiteY6" fmla="*/ 63899 h 393810"/>
                <a:gd name="connsiteX7" fmla="*/ 403396 w 421032"/>
                <a:gd name="connsiteY7" fmla="*/ 51247 h 393810"/>
                <a:gd name="connsiteX8" fmla="*/ 402693 w 421032"/>
                <a:gd name="connsiteY8" fmla="*/ 50097 h 393810"/>
                <a:gd name="connsiteX9" fmla="*/ 394450 w 421032"/>
                <a:gd name="connsiteY9" fmla="*/ 39042 h 393810"/>
                <a:gd name="connsiteX10" fmla="*/ 393492 w 421032"/>
                <a:gd name="connsiteY10" fmla="*/ 37956 h 393810"/>
                <a:gd name="connsiteX11" fmla="*/ 383395 w 421032"/>
                <a:gd name="connsiteY11" fmla="*/ 27860 h 393810"/>
                <a:gd name="connsiteX12" fmla="*/ 382245 w 421032"/>
                <a:gd name="connsiteY12" fmla="*/ 26902 h 393810"/>
                <a:gd name="connsiteX13" fmla="*/ 370552 w 421032"/>
                <a:gd name="connsiteY13" fmla="*/ 18339 h 393810"/>
                <a:gd name="connsiteX14" fmla="*/ 369593 w 421032"/>
                <a:gd name="connsiteY14" fmla="*/ 17700 h 393810"/>
                <a:gd name="connsiteX15" fmla="*/ 357261 w 421032"/>
                <a:gd name="connsiteY15" fmla="*/ 10735 h 393810"/>
                <a:gd name="connsiteX16" fmla="*/ 355855 w 421032"/>
                <a:gd name="connsiteY16" fmla="*/ 10096 h 393810"/>
                <a:gd name="connsiteX17" fmla="*/ 342244 w 421032"/>
                <a:gd name="connsiteY17" fmla="*/ 5048 h 393810"/>
                <a:gd name="connsiteX18" fmla="*/ 340966 w 421032"/>
                <a:gd name="connsiteY18" fmla="*/ 4665 h 393810"/>
                <a:gd name="connsiteX19" fmla="*/ 326717 w 421032"/>
                <a:gd name="connsiteY19" fmla="*/ 1470 h 393810"/>
                <a:gd name="connsiteX20" fmla="*/ 325439 w 421032"/>
                <a:gd name="connsiteY20" fmla="*/ 1278 h 393810"/>
                <a:gd name="connsiteX21" fmla="*/ 310614 w 421032"/>
                <a:gd name="connsiteY21" fmla="*/ 0 h 393810"/>
                <a:gd name="connsiteX22" fmla="*/ 308953 w 421032"/>
                <a:gd name="connsiteY22" fmla="*/ 0 h 393810"/>
                <a:gd name="connsiteX23" fmla="*/ 294703 w 421032"/>
                <a:gd name="connsiteY23" fmla="*/ 1278 h 393810"/>
                <a:gd name="connsiteX24" fmla="*/ 293681 w 421032"/>
                <a:gd name="connsiteY24" fmla="*/ 1406 h 393810"/>
                <a:gd name="connsiteX25" fmla="*/ 279431 w 421032"/>
                <a:gd name="connsiteY25" fmla="*/ 4217 h 393810"/>
                <a:gd name="connsiteX26" fmla="*/ 277898 w 421032"/>
                <a:gd name="connsiteY26" fmla="*/ 4665 h 393810"/>
                <a:gd name="connsiteX27" fmla="*/ 265246 w 421032"/>
                <a:gd name="connsiteY27" fmla="*/ 9393 h 393810"/>
                <a:gd name="connsiteX28" fmla="*/ 264032 w 421032"/>
                <a:gd name="connsiteY28" fmla="*/ 9904 h 393810"/>
                <a:gd name="connsiteX29" fmla="*/ 251699 w 421032"/>
                <a:gd name="connsiteY29" fmla="*/ 16550 h 393810"/>
                <a:gd name="connsiteX30" fmla="*/ 250677 w 421032"/>
                <a:gd name="connsiteY30" fmla="*/ 17189 h 393810"/>
                <a:gd name="connsiteX31" fmla="*/ 239622 w 421032"/>
                <a:gd name="connsiteY31" fmla="*/ 25112 h 393810"/>
                <a:gd name="connsiteX32" fmla="*/ 238600 w 421032"/>
                <a:gd name="connsiteY32" fmla="*/ 25943 h 393810"/>
                <a:gd name="connsiteX33" fmla="*/ 228823 w 421032"/>
                <a:gd name="connsiteY33" fmla="*/ 35081 h 393810"/>
                <a:gd name="connsiteX34" fmla="*/ 227929 w 421032"/>
                <a:gd name="connsiteY34" fmla="*/ 35975 h 393810"/>
                <a:gd name="connsiteX35" fmla="*/ 219047 w 421032"/>
                <a:gd name="connsiteY35" fmla="*/ 46710 h 393810"/>
                <a:gd name="connsiteX36" fmla="*/ 218152 w 421032"/>
                <a:gd name="connsiteY36" fmla="*/ 48052 h 393810"/>
                <a:gd name="connsiteX37" fmla="*/ 211187 w 421032"/>
                <a:gd name="connsiteY37" fmla="*/ 60065 h 393810"/>
                <a:gd name="connsiteX38" fmla="*/ 210804 w 421032"/>
                <a:gd name="connsiteY38" fmla="*/ 60832 h 393810"/>
                <a:gd name="connsiteX39" fmla="*/ 210484 w 421032"/>
                <a:gd name="connsiteY39" fmla="*/ 61535 h 393810"/>
                <a:gd name="connsiteX40" fmla="*/ 210229 w 421032"/>
                <a:gd name="connsiteY40" fmla="*/ 61024 h 393810"/>
                <a:gd name="connsiteX41" fmla="*/ 209717 w 421032"/>
                <a:gd name="connsiteY41" fmla="*/ 60065 h 393810"/>
                <a:gd name="connsiteX42" fmla="*/ 202752 w 421032"/>
                <a:gd name="connsiteY42" fmla="*/ 48052 h 393810"/>
                <a:gd name="connsiteX43" fmla="*/ 201858 w 421032"/>
                <a:gd name="connsiteY43" fmla="*/ 46774 h 393810"/>
                <a:gd name="connsiteX44" fmla="*/ 193040 w 421032"/>
                <a:gd name="connsiteY44" fmla="*/ 36039 h 393810"/>
                <a:gd name="connsiteX45" fmla="*/ 192145 w 421032"/>
                <a:gd name="connsiteY45" fmla="*/ 35081 h 393810"/>
                <a:gd name="connsiteX46" fmla="*/ 182368 w 421032"/>
                <a:gd name="connsiteY46" fmla="*/ 25943 h 393810"/>
                <a:gd name="connsiteX47" fmla="*/ 181346 w 421032"/>
                <a:gd name="connsiteY47" fmla="*/ 25112 h 393810"/>
                <a:gd name="connsiteX48" fmla="*/ 170292 w 421032"/>
                <a:gd name="connsiteY48" fmla="*/ 17189 h 393810"/>
                <a:gd name="connsiteX49" fmla="*/ 169269 w 421032"/>
                <a:gd name="connsiteY49" fmla="*/ 16550 h 393810"/>
                <a:gd name="connsiteX50" fmla="*/ 156937 w 421032"/>
                <a:gd name="connsiteY50" fmla="*/ 9904 h 393810"/>
                <a:gd name="connsiteX51" fmla="*/ 155658 w 421032"/>
                <a:gd name="connsiteY51" fmla="*/ 9329 h 393810"/>
                <a:gd name="connsiteX52" fmla="*/ 142687 w 421032"/>
                <a:gd name="connsiteY52" fmla="*/ 4601 h 393810"/>
                <a:gd name="connsiteX53" fmla="*/ 141281 w 421032"/>
                <a:gd name="connsiteY53" fmla="*/ 4217 h 393810"/>
                <a:gd name="connsiteX54" fmla="*/ 127351 w 421032"/>
                <a:gd name="connsiteY54" fmla="*/ 1406 h 393810"/>
                <a:gd name="connsiteX55" fmla="*/ 126265 w 421032"/>
                <a:gd name="connsiteY55" fmla="*/ 1278 h 393810"/>
                <a:gd name="connsiteX56" fmla="*/ 112016 w 421032"/>
                <a:gd name="connsiteY56" fmla="*/ 0 h 393810"/>
                <a:gd name="connsiteX57" fmla="*/ 110354 w 421032"/>
                <a:gd name="connsiteY57" fmla="*/ 0 h 393810"/>
                <a:gd name="connsiteX58" fmla="*/ 95465 w 421032"/>
                <a:gd name="connsiteY58" fmla="*/ 1278 h 393810"/>
                <a:gd name="connsiteX59" fmla="*/ 94251 w 421032"/>
                <a:gd name="connsiteY59" fmla="*/ 1470 h 393810"/>
                <a:gd name="connsiteX60" fmla="*/ 79746 w 421032"/>
                <a:gd name="connsiteY60" fmla="*/ 4665 h 393810"/>
                <a:gd name="connsiteX61" fmla="*/ 78405 w 421032"/>
                <a:gd name="connsiteY61" fmla="*/ 5048 h 393810"/>
                <a:gd name="connsiteX62" fmla="*/ 64794 w 421032"/>
                <a:gd name="connsiteY62" fmla="*/ 10096 h 393810"/>
                <a:gd name="connsiteX63" fmla="*/ 63324 w 421032"/>
                <a:gd name="connsiteY63" fmla="*/ 10799 h 393810"/>
                <a:gd name="connsiteX64" fmla="*/ 51311 w 421032"/>
                <a:gd name="connsiteY64" fmla="*/ 17764 h 393810"/>
                <a:gd name="connsiteX65" fmla="*/ 50417 w 421032"/>
                <a:gd name="connsiteY65" fmla="*/ 18339 h 393810"/>
                <a:gd name="connsiteX66" fmla="*/ 38723 w 421032"/>
                <a:gd name="connsiteY66" fmla="*/ 26902 h 393810"/>
                <a:gd name="connsiteX67" fmla="*/ 37509 w 421032"/>
                <a:gd name="connsiteY67" fmla="*/ 27988 h 393810"/>
                <a:gd name="connsiteX68" fmla="*/ 27732 w 421032"/>
                <a:gd name="connsiteY68" fmla="*/ 38084 h 393810"/>
                <a:gd name="connsiteX69" fmla="*/ 27029 w 421032"/>
                <a:gd name="connsiteY69" fmla="*/ 38915 h 393810"/>
                <a:gd name="connsiteX70" fmla="*/ 18467 w 421032"/>
                <a:gd name="connsiteY70" fmla="*/ 49969 h 393810"/>
                <a:gd name="connsiteX71" fmla="*/ 17636 w 421032"/>
                <a:gd name="connsiteY71" fmla="*/ 51247 h 393810"/>
                <a:gd name="connsiteX72" fmla="*/ 10671 w 421032"/>
                <a:gd name="connsiteY72" fmla="*/ 63899 h 393810"/>
                <a:gd name="connsiteX73" fmla="*/ 10096 w 421032"/>
                <a:gd name="connsiteY73" fmla="*/ 65113 h 393810"/>
                <a:gd name="connsiteX74" fmla="*/ 5048 w 421032"/>
                <a:gd name="connsiteY74" fmla="*/ 78404 h 393810"/>
                <a:gd name="connsiteX75" fmla="*/ 4665 w 421032"/>
                <a:gd name="connsiteY75" fmla="*/ 79746 h 393810"/>
                <a:gd name="connsiteX76" fmla="*/ 1470 w 421032"/>
                <a:gd name="connsiteY76" fmla="*/ 93996 h 393810"/>
                <a:gd name="connsiteX77" fmla="*/ 1278 w 421032"/>
                <a:gd name="connsiteY77" fmla="*/ 95274 h 393810"/>
                <a:gd name="connsiteX78" fmla="*/ 0 w 421032"/>
                <a:gd name="connsiteY78" fmla="*/ 110162 h 393810"/>
                <a:gd name="connsiteX79" fmla="*/ 0 w 421032"/>
                <a:gd name="connsiteY79" fmla="*/ 111504 h 393810"/>
                <a:gd name="connsiteX80" fmla="*/ 959 w 421032"/>
                <a:gd name="connsiteY80" fmla="*/ 128629 h 393810"/>
                <a:gd name="connsiteX81" fmla="*/ 1023 w 421032"/>
                <a:gd name="connsiteY81" fmla="*/ 129396 h 393810"/>
                <a:gd name="connsiteX82" fmla="*/ 3259 w 421032"/>
                <a:gd name="connsiteY82" fmla="*/ 146137 h 393810"/>
                <a:gd name="connsiteX83" fmla="*/ 3450 w 421032"/>
                <a:gd name="connsiteY83" fmla="*/ 147032 h 393810"/>
                <a:gd name="connsiteX84" fmla="*/ 7221 w 421032"/>
                <a:gd name="connsiteY84" fmla="*/ 163454 h 393810"/>
                <a:gd name="connsiteX85" fmla="*/ 7349 w 421032"/>
                <a:gd name="connsiteY85" fmla="*/ 164029 h 393810"/>
                <a:gd name="connsiteX86" fmla="*/ 12077 w 421032"/>
                <a:gd name="connsiteY86" fmla="*/ 180132 h 393810"/>
                <a:gd name="connsiteX87" fmla="*/ 12396 w 421032"/>
                <a:gd name="connsiteY87" fmla="*/ 181090 h 393810"/>
                <a:gd name="connsiteX88" fmla="*/ 18722 w 421032"/>
                <a:gd name="connsiteY88" fmla="*/ 196618 h 393810"/>
                <a:gd name="connsiteX89" fmla="*/ 18978 w 421032"/>
                <a:gd name="connsiteY89" fmla="*/ 197129 h 393810"/>
                <a:gd name="connsiteX90" fmla="*/ 26262 w 421032"/>
                <a:gd name="connsiteY90" fmla="*/ 212273 h 393810"/>
                <a:gd name="connsiteX91" fmla="*/ 26582 w 421032"/>
                <a:gd name="connsiteY91" fmla="*/ 212848 h 393810"/>
                <a:gd name="connsiteX92" fmla="*/ 34953 w 421032"/>
                <a:gd name="connsiteY92" fmla="*/ 227673 h 393810"/>
                <a:gd name="connsiteX93" fmla="*/ 43835 w 421032"/>
                <a:gd name="connsiteY93" fmla="*/ 242242 h 393810"/>
                <a:gd name="connsiteX94" fmla="*/ 44155 w 421032"/>
                <a:gd name="connsiteY94" fmla="*/ 242753 h 393810"/>
                <a:gd name="connsiteX95" fmla="*/ 53612 w 421032"/>
                <a:gd name="connsiteY95" fmla="*/ 256363 h 393810"/>
                <a:gd name="connsiteX96" fmla="*/ 53931 w 421032"/>
                <a:gd name="connsiteY96" fmla="*/ 256811 h 393810"/>
                <a:gd name="connsiteX97" fmla="*/ 64602 w 421032"/>
                <a:gd name="connsiteY97" fmla="*/ 270357 h 393810"/>
                <a:gd name="connsiteX98" fmla="*/ 75210 w 421032"/>
                <a:gd name="connsiteY98" fmla="*/ 282882 h 393810"/>
                <a:gd name="connsiteX99" fmla="*/ 86519 w 421032"/>
                <a:gd name="connsiteY99" fmla="*/ 295534 h 393810"/>
                <a:gd name="connsiteX100" fmla="*/ 97766 w 421032"/>
                <a:gd name="connsiteY100" fmla="*/ 307163 h 393810"/>
                <a:gd name="connsiteX101" fmla="*/ 109140 w 421032"/>
                <a:gd name="connsiteY101" fmla="*/ 318218 h 393810"/>
                <a:gd name="connsiteX102" fmla="*/ 141728 w 421032"/>
                <a:gd name="connsiteY102" fmla="*/ 347036 h 393810"/>
                <a:gd name="connsiteX103" fmla="*/ 142176 w 421032"/>
                <a:gd name="connsiteY103" fmla="*/ 347420 h 393810"/>
                <a:gd name="connsiteX104" fmla="*/ 152464 w 421032"/>
                <a:gd name="connsiteY104" fmla="*/ 355471 h 393810"/>
                <a:gd name="connsiteX105" fmla="*/ 186586 w 421032"/>
                <a:gd name="connsiteY105" fmla="*/ 380456 h 393810"/>
                <a:gd name="connsiteX106" fmla="*/ 187225 w 421032"/>
                <a:gd name="connsiteY106" fmla="*/ 380903 h 393810"/>
                <a:gd name="connsiteX107" fmla="*/ 192912 w 421032"/>
                <a:gd name="connsiteY107" fmla="*/ 384481 h 393810"/>
                <a:gd name="connsiteX108" fmla="*/ 197960 w 421032"/>
                <a:gd name="connsiteY108" fmla="*/ 387996 h 393810"/>
                <a:gd name="connsiteX109" fmla="*/ 199110 w 421032"/>
                <a:gd name="connsiteY109" fmla="*/ 388699 h 393810"/>
                <a:gd name="connsiteX110" fmla="*/ 201794 w 421032"/>
                <a:gd name="connsiteY110" fmla="*/ 390041 h 393810"/>
                <a:gd name="connsiteX111" fmla="*/ 203072 w 421032"/>
                <a:gd name="connsiteY111" fmla="*/ 391127 h 393810"/>
                <a:gd name="connsiteX112" fmla="*/ 206458 w 421032"/>
                <a:gd name="connsiteY112" fmla="*/ 393044 h 393810"/>
                <a:gd name="connsiteX113" fmla="*/ 207417 w 421032"/>
                <a:gd name="connsiteY113" fmla="*/ 393363 h 393810"/>
                <a:gd name="connsiteX114" fmla="*/ 210356 w 421032"/>
                <a:gd name="connsiteY114" fmla="*/ 393811 h 393810"/>
                <a:gd name="connsiteX115" fmla="*/ 213360 w 421032"/>
                <a:gd name="connsiteY115" fmla="*/ 393299 h 393810"/>
                <a:gd name="connsiteX116" fmla="*/ 214318 w 421032"/>
                <a:gd name="connsiteY116" fmla="*/ 392980 h 393810"/>
                <a:gd name="connsiteX117" fmla="*/ 217641 w 421032"/>
                <a:gd name="connsiteY117" fmla="*/ 391127 h 393810"/>
                <a:gd name="connsiteX118" fmla="*/ 219110 w 421032"/>
                <a:gd name="connsiteY118" fmla="*/ 389913 h 393810"/>
                <a:gd name="connsiteX119" fmla="*/ 221730 w 421032"/>
                <a:gd name="connsiteY119" fmla="*/ 388507 h 393810"/>
                <a:gd name="connsiteX120" fmla="*/ 222369 w 421032"/>
                <a:gd name="connsiteY120" fmla="*/ 388124 h 393810"/>
                <a:gd name="connsiteX121" fmla="*/ 233616 w 421032"/>
                <a:gd name="connsiteY121" fmla="*/ 380903 h 393810"/>
                <a:gd name="connsiteX122" fmla="*/ 234191 w 421032"/>
                <a:gd name="connsiteY122" fmla="*/ 380520 h 393810"/>
                <a:gd name="connsiteX123" fmla="*/ 249718 w 421032"/>
                <a:gd name="connsiteY123" fmla="*/ 369401 h 393810"/>
                <a:gd name="connsiteX124" fmla="*/ 268505 w 421032"/>
                <a:gd name="connsiteY124" fmla="*/ 355343 h 393810"/>
                <a:gd name="connsiteX125" fmla="*/ 278601 w 421032"/>
                <a:gd name="connsiteY125" fmla="*/ 347420 h 393810"/>
                <a:gd name="connsiteX126" fmla="*/ 279048 w 421032"/>
                <a:gd name="connsiteY126" fmla="*/ 347036 h 393810"/>
                <a:gd name="connsiteX127" fmla="*/ 300390 w 421032"/>
                <a:gd name="connsiteY127" fmla="*/ 328250 h 393810"/>
                <a:gd name="connsiteX128" fmla="*/ 323266 w 421032"/>
                <a:gd name="connsiteY128" fmla="*/ 306972 h 393810"/>
                <a:gd name="connsiteX129" fmla="*/ 334704 w 421032"/>
                <a:gd name="connsiteY129" fmla="*/ 295214 h 393810"/>
                <a:gd name="connsiteX130" fmla="*/ 356174 w 421032"/>
                <a:gd name="connsiteY130" fmla="*/ 270549 h 393810"/>
                <a:gd name="connsiteX131" fmla="*/ 356558 w 421032"/>
                <a:gd name="connsiteY131" fmla="*/ 270038 h 393810"/>
                <a:gd name="connsiteX132" fmla="*/ 366909 w 421032"/>
                <a:gd name="connsiteY132" fmla="*/ 256427 h 393810"/>
                <a:gd name="connsiteX133" fmla="*/ 376622 w 421032"/>
                <a:gd name="connsiteY133" fmla="*/ 242433 h 393810"/>
                <a:gd name="connsiteX134" fmla="*/ 385760 w 421032"/>
                <a:gd name="connsiteY134" fmla="*/ 227864 h 393810"/>
                <a:gd name="connsiteX135" fmla="*/ 386079 w 421032"/>
                <a:gd name="connsiteY135" fmla="*/ 227353 h 393810"/>
                <a:gd name="connsiteX136" fmla="*/ 394258 w 421032"/>
                <a:gd name="connsiteY136" fmla="*/ 212337 h 393810"/>
                <a:gd name="connsiteX137" fmla="*/ 401543 w 421032"/>
                <a:gd name="connsiteY137" fmla="*/ 197193 h 393810"/>
                <a:gd name="connsiteX138" fmla="*/ 401798 w 421032"/>
                <a:gd name="connsiteY138" fmla="*/ 196682 h 393810"/>
                <a:gd name="connsiteX139" fmla="*/ 408124 w 421032"/>
                <a:gd name="connsiteY139" fmla="*/ 181154 h 393810"/>
                <a:gd name="connsiteX140" fmla="*/ 408380 w 421032"/>
                <a:gd name="connsiteY140" fmla="*/ 180387 h 393810"/>
                <a:gd name="connsiteX141" fmla="*/ 413428 w 421032"/>
                <a:gd name="connsiteY141" fmla="*/ 164285 h 393810"/>
                <a:gd name="connsiteX142" fmla="*/ 413620 w 421032"/>
                <a:gd name="connsiteY142" fmla="*/ 163582 h 393810"/>
                <a:gd name="connsiteX143" fmla="*/ 417390 w 421032"/>
                <a:gd name="connsiteY143" fmla="*/ 147160 h 393810"/>
                <a:gd name="connsiteX144" fmla="*/ 417582 w 421032"/>
                <a:gd name="connsiteY144" fmla="*/ 146265 h 393810"/>
                <a:gd name="connsiteX145" fmla="*/ 419818 w 421032"/>
                <a:gd name="connsiteY145" fmla="*/ 129524 h 393810"/>
                <a:gd name="connsiteX146" fmla="*/ 419882 w 421032"/>
                <a:gd name="connsiteY146" fmla="*/ 128821 h 393810"/>
                <a:gd name="connsiteX147" fmla="*/ 420840 w 421032"/>
                <a:gd name="connsiteY147" fmla="*/ 111696 h 393810"/>
                <a:gd name="connsiteX148" fmla="*/ 420840 w 421032"/>
                <a:gd name="connsiteY148" fmla="*/ 110546 h 393810"/>
                <a:gd name="connsiteX149" fmla="*/ 20831 w 421032"/>
                <a:gd name="connsiteY149" fmla="*/ 97574 h 393810"/>
                <a:gd name="connsiteX150" fmla="*/ 23707 w 421032"/>
                <a:gd name="connsiteY150" fmla="*/ 84666 h 393810"/>
                <a:gd name="connsiteX151" fmla="*/ 28243 w 421032"/>
                <a:gd name="connsiteY151" fmla="*/ 72653 h 393810"/>
                <a:gd name="connsiteX152" fmla="*/ 34506 w 421032"/>
                <a:gd name="connsiteY152" fmla="*/ 61215 h 393810"/>
                <a:gd name="connsiteX153" fmla="*/ 42237 w 421032"/>
                <a:gd name="connsiteY153" fmla="*/ 51183 h 393810"/>
                <a:gd name="connsiteX154" fmla="*/ 51055 w 421032"/>
                <a:gd name="connsiteY154" fmla="*/ 42046 h 393810"/>
                <a:gd name="connsiteX155" fmla="*/ 61663 w 421032"/>
                <a:gd name="connsiteY155" fmla="*/ 34314 h 393810"/>
                <a:gd name="connsiteX156" fmla="*/ 72526 w 421032"/>
                <a:gd name="connsiteY156" fmla="*/ 28052 h 393810"/>
                <a:gd name="connsiteX157" fmla="*/ 84730 w 421032"/>
                <a:gd name="connsiteY157" fmla="*/ 23515 h 393810"/>
                <a:gd name="connsiteX158" fmla="*/ 97958 w 421032"/>
                <a:gd name="connsiteY158" fmla="*/ 20639 h 393810"/>
                <a:gd name="connsiteX159" fmla="*/ 111376 w 421032"/>
                <a:gd name="connsiteY159" fmla="*/ 19489 h 393810"/>
                <a:gd name="connsiteX160" fmla="*/ 124220 w 421032"/>
                <a:gd name="connsiteY160" fmla="*/ 20639 h 393810"/>
                <a:gd name="connsiteX161" fmla="*/ 136872 w 421032"/>
                <a:gd name="connsiteY161" fmla="*/ 23195 h 393810"/>
                <a:gd name="connsiteX162" fmla="*/ 148502 w 421032"/>
                <a:gd name="connsiteY162" fmla="*/ 27477 h 393810"/>
                <a:gd name="connsiteX163" fmla="*/ 159684 w 421032"/>
                <a:gd name="connsiteY163" fmla="*/ 33483 h 393810"/>
                <a:gd name="connsiteX164" fmla="*/ 169716 w 421032"/>
                <a:gd name="connsiteY164" fmla="*/ 40640 h 393810"/>
                <a:gd name="connsiteX165" fmla="*/ 178598 w 421032"/>
                <a:gd name="connsiteY165" fmla="*/ 48947 h 393810"/>
                <a:gd name="connsiteX166" fmla="*/ 186522 w 421032"/>
                <a:gd name="connsiteY166" fmla="*/ 58596 h 393810"/>
                <a:gd name="connsiteX167" fmla="*/ 192784 w 421032"/>
                <a:gd name="connsiteY167" fmla="*/ 69458 h 393810"/>
                <a:gd name="connsiteX168" fmla="*/ 197640 w 421032"/>
                <a:gd name="connsiteY168" fmla="*/ 80641 h 393810"/>
                <a:gd name="connsiteX169" fmla="*/ 201283 w 421032"/>
                <a:gd name="connsiteY169" fmla="*/ 93612 h 393810"/>
                <a:gd name="connsiteX170" fmla="*/ 210676 w 421032"/>
                <a:gd name="connsiteY170" fmla="*/ 100705 h 393810"/>
                <a:gd name="connsiteX171" fmla="*/ 210804 w 421032"/>
                <a:gd name="connsiteY171" fmla="*/ 100705 h 393810"/>
                <a:gd name="connsiteX172" fmla="*/ 220133 w 421032"/>
                <a:gd name="connsiteY172" fmla="*/ 93357 h 393810"/>
                <a:gd name="connsiteX173" fmla="*/ 223392 w 421032"/>
                <a:gd name="connsiteY173" fmla="*/ 80641 h 393810"/>
                <a:gd name="connsiteX174" fmla="*/ 228504 w 421032"/>
                <a:gd name="connsiteY174" fmla="*/ 69522 h 393810"/>
                <a:gd name="connsiteX175" fmla="*/ 234830 w 421032"/>
                <a:gd name="connsiteY175" fmla="*/ 58596 h 393810"/>
                <a:gd name="connsiteX176" fmla="*/ 242753 w 421032"/>
                <a:gd name="connsiteY176" fmla="*/ 48947 h 393810"/>
                <a:gd name="connsiteX177" fmla="*/ 251635 w 421032"/>
                <a:gd name="connsiteY177" fmla="*/ 40640 h 393810"/>
                <a:gd name="connsiteX178" fmla="*/ 261667 w 421032"/>
                <a:gd name="connsiteY178" fmla="*/ 33483 h 393810"/>
                <a:gd name="connsiteX179" fmla="*/ 272850 w 421032"/>
                <a:gd name="connsiteY179" fmla="*/ 27413 h 393810"/>
                <a:gd name="connsiteX180" fmla="*/ 284160 w 421032"/>
                <a:gd name="connsiteY180" fmla="*/ 23195 h 393810"/>
                <a:gd name="connsiteX181" fmla="*/ 297068 w 421032"/>
                <a:gd name="connsiteY181" fmla="*/ 20639 h 393810"/>
                <a:gd name="connsiteX182" fmla="*/ 309911 w 421032"/>
                <a:gd name="connsiteY182" fmla="*/ 19489 h 393810"/>
                <a:gd name="connsiteX183" fmla="*/ 323266 w 421032"/>
                <a:gd name="connsiteY183" fmla="*/ 20639 h 393810"/>
                <a:gd name="connsiteX184" fmla="*/ 336174 w 421032"/>
                <a:gd name="connsiteY184" fmla="*/ 23515 h 393810"/>
                <a:gd name="connsiteX185" fmla="*/ 348443 w 421032"/>
                <a:gd name="connsiteY185" fmla="*/ 28052 h 393810"/>
                <a:gd name="connsiteX186" fmla="*/ 359625 w 421032"/>
                <a:gd name="connsiteY186" fmla="*/ 34314 h 393810"/>
                <a:gd name="connsiteX187" fmla="*/ 370232 w 421032"/>
                <a:gd name="connsiteY187" fmla="*/ 42110 h 393810"/>
                <a:gd name="connsiteX188" fmla="*/ 379306 w 421032"/>
                <a:gd name="connsiteY188" fmla="*/ 51183 h 393810"/>
                <a:gd name="connsiteX189" fmla="*/ 386718 w 421032"/>
                <a:gd name="connsiteY189" fmla="*/ 61152 h 393810"/>
                <a:gd name="connsiteX190" fmla="*/ 393044 w 421032"/>
                <a:gd name="connsiteY190" fmla="*/ 72653 h 393810"/>
                <a:gd name="connsiteX191" fmla="*/ 397645 w 421032"/>
                <a:gd name="connsiteY191" fmla="*/ 84730 h 393810"/>
                <a:gd name="connsiteX192" fmla="*/ 400776 w 421032"/>
                <a:gd name="connsiteY192" fmla="*/ 97510 h 393810"/>
                <a:gd name="connsiteX193" fmla="*/ 401671 w 421032"/>
                <a:gd name="connsiteY193" fmla="*/ 110929 h 393810"/>
                <a:gd name="connsiteX194" fmla="*/ 400840 w 421032"/>
                <a:gd name="connsiteY194" fmla="*/ 125945 h 393810"/>
                <a:gd name="connsiteX195" fmla="*/ 20576 w 421032"/>
                <a:gd name="connsiteY195" fmla="*/ 125945 h 393810"/>
                <a:gd name="connsiteX196" fmla="*/ 19745 w 421032"/>
                <a:gd name="connsiteY196" fmla="*/ 111057 h 393810"/>
                <a:gd name="connsiteX197" fmla="*/ 20895 w 421032"/>
                <a:gd name="connsiteY197" fmla="*/ 97510 h 393810"/>
                <a:gd name="connsiteX198" fmla="*/ 287611 w 421032"/>
                <a:gd name="connsiteY198" fmla="*/ 313745 h 393810"/>
                <a:gd name="connsiteX199" fmla="*/ 266651 w 421032"/>
                <a:gd name="connsiteY199" fmla="*/ 332212 h 393810"/>
                <a:gd name="connsiteX200" fmla="*/ 238536 w 421032"/>
                <a:gd name="connsiteY200" fmla="*/ 353554 h 393810"/>
                <a:gd name="connsiteX201" fmla="*/ 230101 w 421032"/>
                <a:gd name="connsiteY201" fmla="*/ 359433 h 393810"/>
                <a:gd name="connsiteX202" fmla="*/ 223072 w 421032"/>
                <a:gd name="connsiteY202" fmla="*/ 364609 h 393810"/>
                <a:gd name="connsiteX203" fmla="*/ 212210 w 421032"/>
                <a:gd name="connsiteY203" fmla="*/ 371574 h 393810"/>
                <a:gd name="connsiteX204" fmla="*/ 210484 w 421032"/>
                <a:gd name="connsiteY204" fmla="*/ 372532 h 393810"/>
                <a:gd name="connsiteX205" fmla="*/ 208567 w 421032"/>
                <a:gd name="connsiteY205" fmla="*/ 371574 h 393810"/>
                <a:gd name="connsiteX206" fmla="*/ 198024 w 421032"/>
                <a:gd name="connsiteY206" fmla="*/ 364673 h 393810"/>
                <a:gd name="connsiteX207" fmla="*/ 164413 w 421032"/>
                <a:gd name="connsiteY207" fmla="*/ 340071 h 393810"/>
                <a:gd name="connsiteX208" fmla="*/ 154508 w 421032"/>
                <a:gd name="connsiteY208" fmla="*/ 332340 h 393810"/>
                <a:gd name="connsiteX209" fmla="*/ 122495 w 421032"/>
                <a:gd name="connsiteY209" fmla="*/ 304032 h 393810"/>
                <a:gd name="connsiteX210" fmla="*/ 113485 w 421032"/>
                <a:gd name="connsiteY210" fmla="*/ 295278 h 393810"/>
                <a:gd name="connsiteX211" fmla="*/ 307483 w 421032"/>
                <a:gd name="connsiteY211" fmla="*/ 295278 h 393810"/>
                <a:gd name="connsiteX212" fmla="*/ 287547 w 421032"/>
                <a:gd name="connsiteY212" fmla="*/ 313809 h 393810"/>
                <a:gd name="connsiteX213" fmla="*/ 351446 w 421032"/>
                <a:gd name="connsiteY213" fmla="*/ 244862 h 393810"/>
                <a:gd name="connsiteX214" fmla="*/ 341478 w 421032"/>
                <a:gd name="connsiteY214" fmla="*/ 257897 h 393810"/>
                <a:gd name="connsiteX215" fmla="*/ 326014 w 421032"/>
                <a:gd name="connsiteY215" fmla="*/ 275661 h 393810"/>
                <a:gd name="connsiteX216" fmla="*/ 95018 w 421032"/>
                <a:gd name="connsiteY216" fmla="*/ 275661 h 393810"/>
                <a:gd name="connsiteX217" fmla="*/ 90034 w 421032"/>
                <a:gd name="connsiteY217" fmla="*/ 270102 h 393810"/>
                <a:gd name="connsiteX218" fmla="*/ 79810 w 421032"/>
                <a:gd name="connsiteY218" fmla="*/ 258025 h 393810"/>
                <a:gd name="connsiteX219" fmla="*/ 69522 w 421032"/>
                <a:gd name="connsiteY219" fmla="*/ 244926 h 393810"/>
                <a:gd name="connsiteX220" fmla="*/ 60385 w 421032"/>
                <a:gd name="connsiteY220" fmla="*/ 231762 h 393810"/>
                <a:gd name="connsiteX221" fmla="*/ 54570 w 421032"/>
                <a:gd name="connsiteY221" fmla="*/ 222177 h 393810"/>
                <a:gd name="connsiteX222" fmla="*/ 366526 w 421032"/>
                <a:gd name="connsiteY222" fmla="*/ 222177 h 393810"/>
                <a:gd name="connsiteX223" fmla="*/ 360647 w 421032"/>
                <a:gd name="connsiteY223" fmla="*/ 231507 h 393810"/>
                <a:gd name="connsiteX224" fmla="*/ 351446 w 421032"/>
                <a:gd name="connsiteY224" fmla="*/ 244798 h 393810"/>
                <a:gd name="connsiteX225" fmla="*/ 390169 w 421032"/>
                <a:gd name="connsiteY225" fmla="*/ 174061 h 393810"/>
                <a:gd name="connsiteX226" fmla="*/ 384098 w 421032"/>
                <a:gd name="connsiteY226" fmla="*/ 188950 h 393810"/>
                <a:gd name="connsiteX227" fmla="*/ 377453 w 421032"/>
                <a:gd name="connsiteY227" fmla="*/ 202816 h 393810"/>
                <a:gd name="connsiteX228" fmla="*/ 44346 w 421032"/>
                <a:gd name="connsiteY228" fmla="*/ 202816 h 393810"/>
                <a:gd name="connsiteX229" fmla="*/ 43515 w 421032"/>
                <a:gd name="connsiteY229" fmla="*/ 202880 h 393810"/>
                <a:gd name="connsiteX230" fmla="*/ 36806 w 421032"/>
                <a:gd name="connsiteY230" fmla="*/ 188950 h 393810"/>
                <a:gd name="connsiteX231" fmla="*/ 30799 w 421032"/>
                <a:gd name="connsiteY231" fmla="*/ 174189 h 393810"/>
                <a:gd name="connsiteX232" fmla="*/ 26262 w 421032"/>
                <a:gd name="connsiteY232" fmla="*/ 158789 h 393810"/>
                <a:gd name="connsiteX233" fmla="*/ 23195 w 421032"/>
                <a:gd name="connsiteY233" fmla="*/ 145435 h 393810"/>
                <a:gd name="connsiteX234" fmla="*/ 398028 w 421032"/>
                <a:gd name="connsiteY234" fmla="*/ 145435 h 393810"/>
                <a:gd name="connsiteX235" fmla="*/ 394961 w 421032"/>
                <a:gd name="connsiteY235" fmla="*/ 158662 h 393810"/>
                <a:gd name="connsiteX236" fmla="*/ 390105 w 421032"/>
                <a:gd name="connsiteY236" fmla="*/ 174061 h 3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421032" h="393810">
                  <a:moveTo>
                    <a:pt x="421032" y="110354"/>
                  </a:moveTo>
                  <a:lnTo>
                    <a:pt x="420074" y="95465"/>
                  </a:lnTo>
                  <a:cubicBezTo>
                    <a:pt x="420074" y="94890"/>
                    <a:pt x="419946" y="94315"/>
                    <a:pt x="419818" y="93804"/>
                  </a:cubicBezTo>
                  <a:lnTo>
                    <a:pt x="416368" y="79554"/>
                  </a:lnTo>
                  <a:cubicBezTo>
                    <a:pt x="416304" y="79171"/>
                    <a:pt x="416176" y="78788"/>
                    <a:pt x="415984" y="78404"/>
                  </a:cubicBezTo>
                  <a:lnTo>
                    <a:pt x="410936" y="65113"/>
                  </a:lnTo>
                  <a:cubicBezTo>
                    <a:pt x="410745" y="64666"/>
                    <a:pt x="410617" y="64283"/>
                    <a:pt x="410361" y="63899"/>
                  </a:cubicBezTo>
                  <a:lnTo>
                    <a:pt x="403396" y="51247"/>
                  </a:lnTo>
                  <a:cubicBezTo>
                    <a:pt x="403204" y="50864"/>
                    <a:pt x="402949" y="50480"/>
                    <a:pt x="402693" y="50097"/>
                  </a:cubicBezTo>
                  <a:lnTo>
                    <a:pt x="394450" y="39042"/>
                  </a:lnTo>
                  <a:cubicBezTo>
                    <a:pt x="394194" y="38659"/>
                    <a:pt x="393875" y="38276"/>
                    <a:pt x="393492" y="37956"/>
                  </a:cubicBezTo>
                  <a:lnTo>
                    <a:pt x="383395" y="27860"/>
                  </a:lnTo>
                  <a:cubicBezTo>
                    <a:pt x="383012" y="27477"/>
                    <a:pt x="382693" y="27157"/>
                    <a:pt x="382245" y="26902"/>
                  </a:cubicBezTo>
                  <a:lnTo>
                    <a:pt x="370552" y="18339"/>
                  </a:lnTo>
                  <a:cubicBezTo>
                    <a:pt x="370552" y="18339"/>
                    <a:pt x="369913" y="17892"/>
                    <a:pt x="369593" y="17700"/>
                  </a:cubicBezTo>
                  <a:lnTo>
                    <a:pt x="357261" y="10735"/>
                  </a:lnTo>
                  <a:cubicBezTo>
                    <a:pt x="356814" y="10479"/>
                    <a:pt x="356366" y="10288"/>
                    <a:pt x="355855" y="10096"/>
                  </a:cubicBezTo>
                  <a:lnTo>
                    <a:pt x="342244" y="5048"/>
                  </a:lnTo>
                  <a:cubicBezTo>
                    <a:pt x="341797" y="4920"/>
                    <a:pt x="341414" y="4792"/>
                    <a:pt x="340966" y="4665"/>
                  </a:cubicBezTo>
                  <a:lnTo>
                    <a:pt x="326717" y="1470"/>
                  </a:lnTo>
                  <a:cubicBezTo>
                    <a:pt x="326270" y="1406"/>
                    <a:pt x="325886" y="1342"/>
                    <a:pt x="325439" y="1278"/>
                  </a:cubicBezTo>
                  <a:lnTo>
                    <a:pt x="310614" y="0"/>
                  </a:lnTo>
                  <a:cubicBezTo>
                    <a:pt x="310039" y="0"/>
                    <a:pt x="309464" y="0"/>
                    <a:pt x="308953" y="0"/>
                  </a:cubicBezTo>
                  <a:lnTo>
                    <a:pt x="294703" y="1278"/>
                  </a:lnTo>
                  <a:cubicBezTo>
                    <a:pt x="294384" y="1278"/>
                    <a:pt x="294001" y="1342"/>
                    <a:pt x="293681" y="1406"/>
                  </a:cubicBezTo>
                  <a:lnTo>
                    <a:pt x="279431" y="4217"/>
                  </a:lnTo>
                  <a:cubicBezTo>
                    <a:pt x="278920" y="4345"/>
                    <a:pt x="278409" y="4473"/>
                    <a:pt x="277898" y="4665"/>
                  </a:cubicBezTo>
                  <a:lnTo>
                    <a:pt x="265246" y="9393"/>
                  </a:lnTo>
                  <a:cubicBezTo>
                    <a:pt x="264862" y="9521"/>
                    <a:pt x="264415" y="9713"/>
                    <a:pt x="264032" y="9904"/>
                  </a:cubicBezTo>
                  <a:lnTo>
                    <a:pt x="251699" y="16550"/>
                  </a:lnTo>
                  <a:cubicBezTo>
                    <a:pt x="251316" y="16742"/>
                    <a:pt x="250996" y="16933"/>
                    <a:pt x="250677" y="17189"/>
                  </a:cubicBezTo>
                  <a:lnTo>
                    <a:pt x="239622" y="25112"/>
                  </a:lnTo>
                  <a:cubicBezTo>
                    <a:pt x="239303" y="25368"/>
                    <a:pt x="238919" y="25624"/>
                    <a:pt x="238600" y="25943"/>
                  </a:cubicBezTo>
                  <a:lnTo>
                    <a:pt x="228823" y="35081"/>
                  </a:lnTo>
                  <a:cubicBezTo>
                    <a:pt x="228823" y="35081"/>
                    <a:pt x="228248" y="35656"/>
                    <a:pt x="227929" y="35975"/>
                  </a:cubicBezTo>
                  <a:lnTo>
                    <a:pt x="219047" y="46710"/>
                  </a:lnTo>
                  <a:cubicBezTo>
                    <a:pt x="218727" y="47158"/>
                    <a:pt x="218408" y="47541"/>
                    <a:pt x="218152" y="48052"/>
                  </a:cubicBezTo>
                  <a:lnTo>
                    <a:pt x="211187" y="60065"/>
                  </a:lnTo>
                  <a:cubicBezTo>
                    <a:pt x="211187" y="60065"/>
                    <a:pt x="210931" y="60576"/>
                    <a:pt x="210804" y="60832"/>
                  </a:cubicBezTo>
                  <a:lnTo>
                    <a:pt x="210484" y="61535"/>
                  </a:lnTo>
                  <a:lnTo>
                    <a:pt x="210229" y="61024"/>
                  </a:lnTo>
                  <a:cubicBezTo>
                    <a:pt x="210101" y="60704"/>
                    <a:pt x="209909" y="60385"/>
                    <a:pt x="209717" y="60065"/>
                  </a:cubicBezTo>
                  <a:lnTo>
                    <a:pt x="202752" y="48052"/>
                  </a:lnTo>
                  <a:cubicBezTo>
                    <a:pt x="202497" y="47605"/>
                    <a:pt x="202177" y="47158"/>
                    <a:pt x="201858" y="46774"/>
                  </a:cubicBezTo>
                  <a:lnTo>
                    <a:pt x="193040" y="36039"/>
                  </a:lnTo>
                  <a:cubicBezTo>
                    <a:pt x="192784" y="35720"/>
                    <a:pt x="192465" y="35400"/>
                    <a:pt x="192145" y="35081"/>
                  </a:cubicBezTo>
                  <a:lnTo>
                    <a:pt x="182368" y="25943"/>
                  </a:lnTo>
                  <a:cubicBezTo>
                    <a:pt x="182368" y="25943"/>
                    <a:pt x="181729" y="25368"/>
                    <a:pt x="181346" y="25112"/>
                  </a:cubicBezTo>
                  <a:lnTo>
                    <a:pt x="170292" y="17189"/>
                  </a:lnTo>
                  <a:cubicBezTo>
                    <a:pt x="169972" y="16933"/>
                    <a:pt x="169588" y="16742"/>
                    <a:pt x="169269" y="16550"/>
                  </a:cubicBezTo>
                  <a:lnTo>
                    <a:pt x="156937" y="9904"/>
                  </a:lnTo>
                  <a:cubicBezTo>
                    <a:pt x="156553" y="9713"/>
                    <a:pt x="156106" y="9521"/>
                    <a:pt x="155658" y="9329"/>
                  </a:cubicBezTo>
                  <a:lnTo>
                    <a:pt x="142687" y="4601"/>
                  </a:lnTo>
                  <a:cubicBezTo>
                    <a:pt x="142240" y="4409"/>
                    <a:pt x="141728" y="4281"/>
                    <a:pt x="141281" y="4217"/>
                  </a:cubicBezTo>
                  <a:lnTo>
                    <a:pt x="127351" y="1406"/>
                  </a:lnTo>
                  <a:cubicBezTo>
                    <a:pt x="126968" y="1342"/>
                    <a:pt x="126648" y="1278"/>
                    <a:pt x="126265" y="1278"/>
                  </a:cubicBezTo>
                  <a:lnTo>
                    <a:pt x="112016" y="0"/>
                  </a:lnTo>
                  <a:cubicBezTo>
                    <a:pt x="111440" y="0"/>
                    <a:pt x="110865" y="0"/>
                    <a:pt x="110354" y="0"/>
                  </a:cubicBezTo>
                  <a:lnTo>
                    <a:pt x="95465" y="1278"/>
                  </a:lnTo>
                  <a:cubicBezTo>
                    <a:pt x="95018" y="1278"/>
                    <a:pt x="94635" y="1406"/>
                    <a:pt x="94251" y="1470"/>
                  </a:cubicBezTo>
                  <a:lnTo>
                    <a:pt x="79746" y="4665"/>
                  </a:lnTo>
                  <a:cubicBezTo>
                    <a:pt x="79299" y="4729"/>
                    <a:pt x="78852" y="4920"/>
                    <a:pt x="78405" y="5048"/>
                  </a:cubicBezTo>
                  <a:lnTo>
                    <a:pt x="64794" y="10096"/>
                  </a:lnTo>
                  <a:cubicBezTo>
                    <a:pt x="64283" y="10288"/>
                    <a:pt x="63771" y="10543"/>
                    <a:pt x="63324" y="10799"/>
                  </a:cubicBezTo>
                  <a:lnTo>
                    <a:pt x="51311" y="17764"/>
                  </a:lnTo>
                  <a:cubicBezTo>
                    <a:pt x="51311" y="17764"/>
                    <a:pt x="50736" y="18147"/>
                    <a:pt x="50417" y="18339"/>
                  </a:cubicBezTo>
                  <a:lnTo>
                    <a:pt x="38723" y="26902"/>
                  </a:lnTo>
                  <a:cubicBezTo>
                    <a:pt x="38276" y="27221"/>
                    <a:pt x="37892" y="27604"/>
                    <a:pt x="37509" y="27988"/>
                  </a:cubicBezTo>
                  <a:lnTo>
                    <a:pt x="27732" y="38084"/>
                  </a:lnTo>
                  <a:cubicBezTo>
                    <a:pt x="27732" y="38084"/>
                    <a:pt x="27221" y="38659"/>
                    <a:pt x="27029" y="38915"/>
                  </a:cubicBezTo>
                  <a:lnTo>
                    <a:pt x="18467" y="49969"/>
                  </a:lnTo>
                  <a:cubicBezTo>
                    <a:pt x="18148" y="50353"/>
                    <a:pt x="17892" y="50800"/>
                    <a:pt x="17636" y="51247"/>
                  </a:cubicBezTo>
                  <a:lnTo>
                    <a:pt x="10671" y="63899"/>
                  </a:lnTo>
                  <a:cubicBezTo>
                    <a:pt x="10480" y="64283"/>
                    <a:pt x="10288" y="64730"/>
                    <a:pt x="10096" y="65113"/>
                  </a:cubicBezTo>
                  <a:lnTo>
                    <a:pt x="5048" y="78404"/>
                  </a:lnTo>
                  <a:cubicBezTo>
                    <a:pt x="4856" y="78852"/>
                    <a:pt x="4728" y="79299"/>
                    <a:pt x="4665" y="79746"/>
                  </a:cubicBezTo>
                  <a:lnTo>
                    <a:pt x="1470" y="93996"/>
                  </a:lnTo>
                  <a:cubicBezTo>
                    <a:pt x="1406" y="94443"/>
                    <a:pt x="1342" y="94826"/>
                    <a:pt x="1278" y="95274"/>
                  </a:cubicBezTo>
                  <a:lnTo>
                    <a:pt x="0" y="110162"/>
                  </a:lnTo>
                  <a:cubicBezTo>
                    <a:pt x="0" y="110609"/>
                    <a:pt x="0" y="111057"/>
                    <a:pt x="0" y="111504"/>
                  </a:cubicBezTo>
                  <a:lnTo>
                    <a:pt x="959" y="128629"/>
                  </a:lnTo>
                  <a:cubicBezTo>
                    <a:pt x="959" y="128629"/>
                    <a:pt x="959" y="129140"/>
                    <a:pt x="1023" y="129396"/>
                  </a:cubicBezTo>
                  <a:lnTo>
                    <a:pt x="3259" y="146137"/>
                  </a:lnTo>
                  <a:cubicBezTo>
                    <a:pt x="3259" y="146137"/>
                    <a:pt x="3323" y="146713"/>
                    <a:pt x="3450" y="147032"/>
                  </a:cubicBezTo>
                  <a:lnTo>
                    <a:pt x="7221" y="163454"/>
                  </a:lnTo>
                  <a:cubicBezTo>
                    <a:pt x="7221" y="163454"/>
                    <a:pt x="7285" y="163837"/>
                    <a:pt x="7349" y="164029"/>
                  </a:cubicBezTo>
                  <a:lnTo>
                    <a:pt x="12077" y="180132"/>
                  </a:lnTo>
                  <a:cubicBezTo>
                    <a:pt x="12077" y="180132"/>
                    <a:pt x="12269" y="180771"/>
                    <a:pt x="12396" y="181090"/>
                  </a:cubicBezTo>
                  <a:lnTo>
                    <a:pt x="18722" y="196618"/>
                  </a:lnTo>
                  <a:cubicBezTo>
                    <a:pt x="18722" y="196618"/>
                    <a:pt x="18850" y="197001"/>
                    <a:pt x="18978" y="197129"/>
                  </a:cubicBezTo>
                  <a:lnTo>
                    <a:pt x="26262" y="212273"/>
                  </a:lnTo>
                  <a:cubicBezTo>
                    <a:pt x="26262" y="212273"/>
                    <a:pt x="26454" y="212656"/>
                    <a:pt x="26582" y="212848"/>
                  </a:cubicBezTo>
                  <a:lnTo>
                    <a:pt x="34953" y="227673"/>
                  </a:lnTo>
                  <a:lnTo>
                    <a:pt x="43835" y="242242"/>
                  </a:lnTo>
                  <a:cubicBezTo>
                    <a:pt x="43835" y="242242"/>
                    <a:pt x="44027" y="242561"/>
                    <a:pt x="44155" y="242753"/>
                  </a:cubicBezTo>
                  <a:lnTo>
                    <a:pt x="53612" y="256363"/>
                  </a:lnTo>
                  <a:cubicBezTo>
                    <a:pt x="53612" y="256363"/>
                    <a:pt x="53803" y="256683"/>
                    <a:pt x="53931" y="256811"/>
                  </a:cubicBezTo>
                  <a:lnTo>
                    <a:pt x="64602" y="270357"/>
                  </a:lnTo>
                  <a:lnTo>
                    <a:pt x="75210" y="282882"/>
                  </a:lnTo>
                  <a:lnTo>
                    <a:pt x="86519" y="295534"/>
                  </a:lnTo>
                  <a:lnTo>
                    <a:pt x="97766" y="307163"/>
                  </a:lnTo>
                  <a:lnTo>
                    <a:pt x="109140" y="318218"/>
                  </a:lnTo>
                  <a:lnTo>
                    <a:pt x="141728" y="347036"/>
                  </a:lnTo>
                  <a:cubicBezTo>
                    <a:pt x="141728" y="347036"/>
                    <a:pt x="141984" y="347292"/>
                    <a:pt x="142176" y="347420"/>
                  </a:cubicBezTo>
                  <a:lnTo>
                    <a:pt x="152464" y="355471"/>
                  </a:lnTo>
                  <a:lnTo>
                    <a:pt x="186586" y="380456"/>
                  </a:lnTo>
                  <a:cubicBezTo>
                    <a:pt x="186586" y="380456"/>
                    <a:pt x="186969" y="380775"/>
                    <a:pt x="187225" y="380903"/>
                  </a:cubicBezTo>
                  <a:lnTo>
                    <a:pt x="192912" y="384481"/>
                  </a:lnTo>
                  <a:lnTo>
                    <a:pt x="197960" y="387996"/>
                  </a:lnTo>
                  <a:cubicBezTo>
                    <a:pt x="198343" y="388251"/>
                    <a:pt x="198727" y="388507"/>
                    <a:pt x="199110" y="388699"/>
                  </a:cubicBezTo>
                  <a:lnTo>
                    <a:pt x="201794" y="390041"/>
                  </a:lnTo>
                  <a:lnTo>
                    <a:pt x="203072" y="391127"/>
                  </a:lnTo>
                  <a:cubicBezTo>
                    <a:pt x="204094" y="391958"/>
                    <a:pt x="205244" y="392597"/>
                    <a:pt x="206458" y="393044"/>
                  </a:cubicBezTo>
                  <a:lnTo>
                    <a:pt x="207417" y="393363"/>
                  </a:lnTo>
                  <a:cubicBezTo>
                    <a:pt x="208375" y="393683"/>
                    <a:pt x="209398" y="393811"/>
                    <a:pt x="210356" y="393811"/>
                  </a:cubicBezTo>
                  <a:cubicBezTo>
                    <a:pt x="211315" y="393811"/>
                    <a:pt x="212401" y="393619"/>
                    <a:pt x="213360" y="393299"/>
                  </a:cubicBezTo>
                  <a:lnTo>
                    <a:pt x="214318" y="392980"/>
                  </a:lnTo>
                  <a:cubicBezTo>
                    <a:pt x="215532" y="392597"/>
                    <a:pt x="216619" y="391958"/>
                    <a:pt x="217641" y="391127"/>
                  </a:cubicBezTo>
                  <a:lnTo>
                    <a:pt x="219110" y="389913"/>
                  </a:lnTo>
                  <a:lnTo>
                    <a:pt x="221730" y="388507"/>
                  </a:lnTo>
                  <a:cubicBezTo>
                    <a:pt x="221730" y="388507"/>
                    <a:pt x="222178" y="388251"/>
                    <a:pt x="222369" y="388124"/>
                  </a:cubicBezTo>
                  <a:lnTo>
                    <a:pt x="233616" y="380903"/>
                  </a:lnTo>
                  <a:cubicBezTo>
                    <a:pt x="233616" y="380903"/>
                    <a:pt x="233999" y="380647"/>
                    <a:pt x="234191" y="380520"/>
                  </a:cubicBezTo>
                  <a:lnTo>
                    <a:pt x="249718" y="369401"/>
                  </a:lnTo>
                  <a:lnTo>
                    <a:pt x="268505" y="355343"/>
                  </a:lnTo>
                  <a:lnTo>
                    <a:pt x="278601" y="347420"/>
                  </a:lnTo>
                  <a:cubicBezTo>
                    <a:pt x="278601" y="347420"/>
                    <a:pt x="278920" y="347164"/>
                    <a:pt x="279048" y="347036"/>
                  </a:cubicBezTo>
                  <a:lnTo>
                    <a:pt x="300390" y="328250"/>
                  </a:lnTo>
                  <a:lnTo>
                    <a:pt x="323266" y="306972"/>
                  </a:lnTo>
                  <a:lnTo>
                    <a:pt x="334704" y="295214"/>
                  </a:lnTo>
                  <a:lnTo>
                    <a:pt x="356174" y="270549"/>
                  </a:lnTo>
                  <a:cubicBezTo>
                    <a:pt x="356174" y="270549"/>
                    <a:pt x="356430" y="270230"/>
                    <a:pt x="356558" y="270038"/>
                  </a:cubicBezTo>
                  <a:lnTo>
                    <a:pt x="366909" y="256427"/>
                  </a:lnTo>
                  <a:lnTo>
                    <a:pt x="376622" y="242433"/>
                  </a:lnTo>
                  <a:lnTo>
                    <a:pt x="385760" y="227864"/>
                  </a:lnTo>
                  <a:cubicBezTo>
                    <a:pt x="385760" y="227864"/>
                    <a:pt x="385952" y="227481"/>
                    <a:pt x="386079" y="227353"/>
                  </a:cubicBezTo>
                  <a:lnTo>
                    <a:pt x="394258" y="212337"/>
                  </a:lnTo>
                  <a:lnTo>
                    <a:pt x="401543" y="197193"/>
                  </a:lnTo>
                  <a:cubicBezTo>
                    <a:pt x="401543" y="197193"/>
                    <a:pt x="401735" y="196809"/>
                    <a:pt x="401798" y="196682"/>
                  </a:cubicBezTo>
                  <a:lnTo>
                    <a:pt x="408124" y="181154"/>
                  </a:lnTo>
                  <a:cubicBezTo>
                    <a:pt x="408124" y="181154"/>
                    <a:pt x="408316" y="180643"/>
                    <a:pt x="408380" y="180387"/>
                  </a:cubicBezTo>
                  <a:lnTo>
                    <a:pt x="413428" y="164285"/>
                  </a:lnTo>
                  <a:cubicBezTo>
                    <a:pt x="413428" y="164285"/>
                    <a:pt x="413556" y="163774"/>
                    <a:pt x="413620" y="163582"/>
                  </a:cubicBezTo>
                  <a:lnTo>
                    <a:pt x="417390" y="147160"/>
                  </a:lnTo>
                  <a:cubicBezTo>
                    <a:pt x="417390" y="147160"/>
                    <a:pt x="417518" y="146521"/>
                    <a:pt x="417582" y="146265"/>
                  </a:cubicBezTo>
                  <a:lnTo>
                    <a:pt x="419818" y="129524"/>
                  </a:lnTo>
                  <a:cubicBezTo>
                    <a:pt x="419818" y="129524"/>
                    <a:pt x="419818" y="129012"/>
                    <a:pt x="419882" y="128821"/>
                  </a:cubicBezTo>
                  <a:lnTo>
                    <a:pt x="420840" y="111696"/>
                  </a:lnTo>
                  <a:cubicBezTo>
                    <a:pt x="420840" y="111312"/>
                    <a:pt x="420840" y="110929"/>
                    <a:pt x="420840" y="110546"/>
                  </a:cubicBezTo>
                  <a:close/>
                  <a:moveTo>
                    <a:pt x="20831" y="97574"/>
                  </a:moveTo>
                  <a:lnTo>
                    <a:pt x="23707" y="84666"/>
                  </a:lnTo>
                  <a:lnTo>
                    <a:pt x="28243" y="72653"/>
                  </a:lnTo>
                  <a:lnTo>
                    <a:pt x="34506" y="61215"/>
                  </a:lnTo>
                  <a:lnTo>
                    <a:pt x="42237" y="51183"/>
                  </a:lnTo>
                  <a:lnTo>
                    <a:pt x="51055" y="42046"/>
                  </a:lnTo>
                  <a:lnTo>
                    <a:pt x="61663" y="34314"/>
                  </a:lnTo>
                  <a:lnTo>
                    <a:pt x="72526" y="28052"/>
                  </a:lnTo>
                  <a:lnTo>
                    <a:pt x="84730" y="23515"/>
                  </a:lnTo>
                  <a:lnTo>
                    <a:pt x="97958" y="20639"/>
                  </a:lnTo>
                  <a:lnTo>
                    <a:pt x="111376" y="19489"/>
                  </a:lnTo>
                  <a:lnTo>
                    <a:pt x="124220" y="20639"/>
                  </a:lnTo>
                  <a:lnTo>
                    <a:pt x="136872" y="23195"/>
                  </a:lnTo>
                  <a:lnTo>
                    <a:pt x="148502" y="27477"/>
                  </a:lnTo>
                  <a:lnTo>
                    <a:pt x="159684" y="33483"/>
                  </a:lnTo>
                  <a:lnTo>
                    <a:pt x="169716" y="40640"/>
                  </a:lnTo>
                  <a:lnTo>
                    <a:pt x="178598" y="48947"/>
                  </a:lnTo>
                  <a:lnTo>
                    <a:pt x="186522" y="58596"/>
                  </a:lnTo>
                  <a:lnTo>
                    <a:pt x="192784" y="69458"/>
                  </a:lnTo>
                  <a:lnTo>
                    <a:pt x="197640" y="80641"/>
                  </a:lnTo>
                  <a:lnTo>
                    <a:pt x="201283" y="93612"/>
                  </a:lnTo>
                  <a:cubicBezTo>
                    <a:pt x="202433" y="97830"/>
                    <a:pt x="206267" y="100705"/>
                    <a:pt x="210676" y="100705"/>
                  </a:cubicBezTo>
                  <a:lnTo>
                    <a:pt x="210804" y="100705"/>
                  </a:lnTo>
                  <a:cubicBezTo>
                    <a:pt x="215213" y="100705"/>
                    <a:pt x="219047" y="97638"/>
                    <a:pt x="220133" y="93357"/>
                  </a:cubicBezTo>
                  <a:lnTo>
                    <a:pt x="223392" y="80641"/>
                  </a:lnTo>
                  <a:lnTo>
                    <a:pt x="228504" y="69522"/>
                  </a:lnTo>
                  <a:lnTo>
                    <a:pt x="234830" y="58596"/>
                  </a:lnTo>
                  <a:lnTo>
                    <a:pt x="242753" y="48947"/>
                  </a:lnTo>
                  <a:lnTo>
                    <a:pt x="251635" y="40640"/>
                  </a:lnTo>
                  <a:lnTo>
                    <a:pt x="261667" y="33483"/>
                  </a:lnTo>
                  <a:lnTo>
                    <a:pt x="272850" y="27413"/>
                  </a:lnTo>
                  <a:lnTo>
                    <a:pt x="284160" y="23195"/>
                  </a:lnTo>
                  <a:lnTo>
                    <a:pt x="297068" y="20639"/>
                  </a:lnTo>
                  <a:lnTo>
                    <a:pt x="309911" y="19489"/>
                  </a:lnTo>
                  <a:lnTo>
                    <a:pt x="323266" y="20639"/>
                  </a:lnTo>
                  <a:lnTo>
                    <a:pt x="336174" y="23515"/>
                  </a:lnTo>
                  <a:lnTo>
                    <a:pt x="348443" y="28052"/>
                  </a:lnTo>
                  <a:lnTo>
                    <a:pt x="359625" y="34314"/>
                  </a:lnTo>
                  <a:lnTo>
                    <a:pt x="370232" y="42110"/>
                  </a:lnTo>
                  <a:lnTo>
                    <a:pt x="379306" y="51183"/>
                  </a:lnTo>
                  <a:lnTo>
                    <a:pt x="386718" y="61152"/>
                  </a:lnTo>
                  <a:lnTo>
                    <a:pt x="393044" y="72653"/>
                  </a:lnTo>
                  <a:lnTo>
                    <a:pt x="397645" y="84730"/>
                  </a:lnTo>
                  <a:lnTo>
                    <a:pt x="400776" y="97510"/>
                  </a:lnTo>
                  <a:lnTo>
                    <a:pt x="401671" y="110929"/>
                  </a:lnTo>
                  <a:lnTo>
                    <a:pt x="400840" y="125945"/>
                  </a:lnTo>
                  <a:lnTo>
                    <a:pt x="20576" y="125945"/>
                  </a:lnTo>
                  <a:lnTo>
                    <a:pt x="19745" y="111057"/>
                  </a:lnTo>
                  <a:lnTo>
                    <a:pt x="20895" y="97510"/>
                  </a:lnTo>
                  <a:close/>
                  <a:moveTo>
                    <a:pt x="287611" y="313745"/>
                  </a:moveTo>
                  <a:lnTo>
                    <a:pt x="266651" y="332212"/>
                  </a:lnTo>
                  <a:lnTo>
                    <a:pt x="238536" y="353554"/>
                  </a:lnTo>
                  <a:lnTo>
                    <a:pt x="230101" y="359433"/>
                  </a:lnTo>
                  <a:lnTo>
                    <a:pt x="223072" y="364609"/>
                  </a:lnTo>
                  <a:lnTo>
                    <a:pt x="212210" y="371574"/>
                  </a:lnTo>
                  <a:lnTo>
                    <a:pt x="210484" y="372532"/>
                  </a:lnTo>
                  <a:lnTo>
                    <a:pt x="208567" y="371574"/>
                  </a:lnTo>
                  <a:lnTo>
                    <a:pt x="198024" y="364673"/>
                  </a:lnTo>
                  <a:lnTo>
                    <a:pt x="164413" y="340071"/>
                  </a:lnTo>
                  <a:lnTo>
                    <a:pt x="154508" y="332340"/>
                  </a:lnTo>
                  <a:lnTo>
                    <a:pt x="122495" y="304032"/>
                  </a:lnTo>
                  <a:lnTo>
                    <a:pt x="113485" y="295278"/>
                  </a:lnTo>
                  <a:lnTo>
                    <a:pt x="307483" y="295278"/>
                  </a:lnTo>
                  <a:lnTo>
                    <a:pt x="287547" y="313809"/>
                  </a:lnTo>
                  <a:close/>
                  <a:moveTo>
                    <a:pt x="351446" y="244862"/>
                  </a:moveTo>
                  <a:lnTo>
                    <a:pt x="341478" y="257897"/>
                  </a:lnTo>
                  <a:lnTo>
                    <a:pt x="326014" y="275661"/>
                  </a:lnTo>
                  <a:lnTo>
                    <a:pt x="95018" y="275661"/>
                  </a:lnTo>
                  <a:lnTo>
                    <a:pt x="90034" y="270102"/>
                  </a:lnTo>
                  <a:lnTo>
                    <a:pt x="79810" y="258025"/>
                  </a:lnTo>
                  <a:lnTo>
                    <a:pt x="69522" y="244926"/>
                  </a:lnTo>
                  <a:lnTo>
                    <a:pt x="60385" y="231762"/>
                  </a:lnTo>
                  <a:lnTo>
                    <a:pt x="54570" y="222177"/>
                  </a:lnTo>
                  <a:lnTo>
                    <a:pt x="366526" y="222177"/>
                  </a:lnTo>
                  <a:lnTo>
                    <a:pt x="360647" y="231507"/>
                  </a:lnTo>
                  <a:lnTo>
                    <a:pt x="351446" y="244798"/>
                  </a:lnTo>
                  <a:close/>
                  <a:moveTo>
                    <a:pt x="390169" y="174061"/>
                  </a:moveTo>
                  <a:lnTo>
                    <a:pt x="384098" y="188950"/>
                  </a:lnTo>
                  <a:lnTo>
                    <a:pt x="377453" y="202816"/>
                  </a:lnTo>
                  <a:lnTo>
                    <a:pt x="44346" y="202816"/>
                  </a:lnTo>
                  <a:cubicBezTo>
                    <a:pt x="44346" y="202816"/>
                    <a:pt x="43771" y="202816"/>
                    <a:pt x="43515" y="202880"/>
                  </a:cubicBezTo>
                  <a:lnTo>
                    <a:pt x="36806" y="188950"/>
                  </a:lnTo>
                  <a:lnTo>
                    <a:pt x="30799" y="174189"/>
                  </a:lnTo>
                  <a:lnTo>
                    <a:pt x="26262" y="158789"/>
                  </a:lnTo>
                  <a:lnTo>
                    <a:pt x="23195" y="145435"/>
                  </a:lnTo>
                  <a:lnTo>
                    <a:pt x="398028" y="145435"/>
                  </a:lnTo>
                  <a:lnTo>
                    <a:pt x="394961" y="158662"/>
                  </a:lnTo>
                  <a:lnTo>
                    <a:pt x="390105" y="174061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2328BBDA-82E4-87D8-6D70-2CA1C095877B}"/>
                </a:ext>
              </a:extLst>
            </p:cNvPr>
            <p:cNvSpPr/>
            <p:nvPr/>
          </p:nvSpPr>
          <p:spPr>
            <a:xfrm>
              <a:off x="7357532" y="363312"/>
              <a:ext cx="362117" cy="362116"/>
            </a:xfrm>
            <a:custGeom>
              <a:avLst/>
              <a:gdLst>
                <a:gd name="connsiteX0" fmla="*/ 349146 w 362117"/>
                <a:gd name="connsiteY0" fmla="*/ 180962 h 362116"/>
                <a:gd name="connsiteX1" fmla="*/ 303969 w 362117"/>
                <a:gd name="connsiteY1" fmla="*/ 180962 h 362116"/>
                <a:gd name="connsiteX2" fmla="*/ 303969 w 362117"/>
                <a:gd name="connsiteY2" fmla="*/ 103453 h 362116"/>
                <a:gd name="connsiteX3" fmla="*/ 297451 w 362117"/>
                <a:gd name="connsiteY3" fmla="*/ 96935 h 362116"/>
                <a:gd name="connsiteX4" fmla="*/ 278090 w 362117"/>
                <a:gd name="connsiteY4" fmla="*/ 96935 h 362116"/>
                <a:gd name="connsiteX5" fmla="*/ 271636 w 362117"/>
                <a:gd name="connsiteY5" fmla="*/ 103453 h 362116"/>
                <a:gd name="connsiteX6" fmla="*/ 271636 w 362117"/>
                <a:gd name="connsiteY6" fmla="*/ 180962 h 362116"/>
                <a:gd name="connsiteX7" fmla="*/ 200516 w 362117"/>
                <a:gd name="connsiteY7" fmla="*/ 180962 h 362116"/>
                <a:gd name="connsiteX8" fmla="*/ 200516 w 362117"/>
                <a:gd name="connsiteY8" fmla="*/ 103453 h 362116"/>
                <a:gd name="connsiteX9" fmla="*/ 193998 w 362117"/>
                <a:gd name="connsiteY9" fmla="*/ 96935 h 362116"/>
                <a:gd name="connsiteX10" fmla="*/ 174636 w 362117"/>
                <a:gd name="connsiteY10" fmla="*/ 96935 h 362116"/>
                <a:gd name="connsiteX11" fmla="*/ 168183 w 362117"/>
                <a:gd name="connsiteY11" fmla="*/ 103453 h 362116"/>
                <a:gd name="connsiteX12" fmla="*/ 168183 w 362117"/>
                <a:gd name="connsiteY12" fmla="*/ 180962 h 362116"/>
                <a:gd name="connsiteX13" fmla="*/ 90609 w 362117"/>
                <a:gd name="connsiteY13" fmla="*/ 180962 h 362116"/>
                <a:gd name="connsiteX14" fmla="*/ 90609 w 362117"/>
                <a:gd name="connsiteY14" fmla="*/ 103453 h 362116"/>
                <a:gd name="connsiteX15" fmla="*/ 84092 w 362117"/>
                <a:gd name="connsiteY15" fmla="*/ 96935 h 362116"/>
                <a:gd name="connsiteX16" fmla="*/ 64666 w 362117"/>
                <a:gd name="connsiteY16" fmla="*/ 96935 h 362116"/>
                <a:gd name="connsiteX17" fmla="*/ 58212 w 362117"/>
                <a:gd name="connsiteY17" fmla="*/ 103453 h 362116"/>
                <a:gd name="connsiteX18" fmla="*/ 58212 w 362117"/>
                <a:gd name="connsiteY18" fmla="*/ 180962 h 362116"/>
                <a:gd name="connsiteX19" fmla="*/ 13419 w 362117"/>
                <a:gd name="connsiteY19" fmla="*/ 180962 h 362116"/>
                <a:gd name="connsiteX20" fmla="*/ 0 w 362117"/>
                <a:gd name="connsiteY20" fmla="*/ 193998 h 362116"/>
                <a:gd name="connsiteX21" fmla="*/ 0 w 362117"/>
                <a:gd name="connsiteY21" fmla="*/ 349081 h 362116"/>
                <a:gd name="connsiteX22" fmla="*/ 13036 w 362117"/>
                <a:gd name="connsiteY22" fmla="*/ 362117 h 362116"/>
                <a:gd name="connsiteX23" fmla="*/ 349082 w 362117"/>
                <a:gd name="connsiteY23" fmla="*/ 362117 h 362116"/>
                <a:gd name="connsiteX24" fmla="*/ 362117 w 362117"/>
                <a:gd name="connsiteY24" fmla="*/ 349081 h 362116"/>
                <a:gd name="connsiteX25" fmla="*/ 362117 w 362117"/>
                <a:gd name="connsiteY25" fmla="*/ 193998 h 362116"/>
                <a:gd name="connsiteX26" fmla="*/ 349146 w 362117"/>
                <a:gd name="connsiteY26" fmla="*/ 180962 h 362116"/>
                <a:gd name="connsiteX27" fmla="*/ 349146 w 362117"/>
                <a:gd name="connsiteY27" fmla="*/ 180962 h 362116"/>
                <a:gd name="connsiteX28" fmla="*/ 342756 w 362117"/>
                <a:gd name="connsiteY28" fmla="*/ 342691 h 362116"/>
                <a:gd name="connsiteX29" fmla="*/ 19426 w 362117"/>
                <a:gd name="connsiteY29" fmla="*/ 342691 h 362116"/>
                <a:gd name="connsiteX30" fmla="*/ 19426 w 362117"/>
                <a:gd name="connsiteY30" fmla="*/ 278153 h 362116"/>
                <a:gd name="connsiteX31" fmla="*/ 47350 w 362117"/>
                <a:gd name="connsiteY31" fmla="*/ 237194 h 362116"/>
                <a:gd name="connsiteX32" fmla="*/ 47350 w 362117"/>
                <a:gd name="connsiteY32" fmla="*/ 236746 h 362116"/>
                <a:gd name="connsiteX33" fmla="*/ 56934 w 362117"/>
                <a:gd name="connsiteY33" fmla="*/ 226906 h 362116"/>
                <a:gd name="connsiteX34" fmla="*/ 57957 w 362117"/>
                <a:gd name="connsiteY34" fmla="*/ 226970 h 362116"/>
                <a:gd name="connsiteX35" fmla="*/ 58724 w 362117"/>
                <a:gd name="connsiteY35" fmla="*/ 226970 h 362116"/>
                <a:gd name="connsiteX36" fmla="*/ 68500 w 362117"/>
                <a:gd name="connsiteY36" fmla="*/ 236555 h 362116"/>
                <a:gd name="connsiteX37" fmla="*/ 68500 w 362117"/>
                <a:gd name="connsiteY37" fmla="*/ 236555 h 362116"/>
                <a:gd name="connsiteX38" fmla="*/ 68500 w 362117"/>
                <a:gd name="connsiteY38" fmla="*/ 237194 h 362116"/>
                <a:gd name="connsiteX39" fmla="*/ 119364 w 362117"/>
                <a:gd name="connsiteY39" fmla="*/ 287866 h 362116"/>
                <a:gd name="connsiteX40" fmla="*/ 170228 w 362117"/>
                <a:gd name="connsiteY40" fmla="*/ 237513 h 362116"/>
                <a:gd name="connsiteX41" fmla="*/ 170228 w 362117"/>
                <a:gd name="connsiteY41" fmla="*/ 237066 h 362116"/>
                <a:gd name="connsiteX42" fmla="*/ 180387 w 362117"/>
                <a:gd name="connsiteY42" fmla="*/ 226842 h 362116"/>
                <a:gd name="connsiteX43" fmla="*/ 190484 w 362117"/>
                <a:gd name="connsiteY43" fmla="*/ 236938 h 362116"/>
                <a:gd name="connsiteX44" fmla="*/ 190484 w 362117"/>
                <a:gd name="connsiteY44" fmla="*/ 238472 h 362116"/>
                <a:gd name="connsiteX45" fmla="*/ 190484 w 362117"/>
                <a:gd name="connsiteY45" fmla="*/ 238472 h 362116"/>
                <a:gd name="connsiteX46" fmla="*/ 241348 w 362117"/>
                <a:gd name="connsiteY46" fmla="*/ 287738 h 362116"/>
                <a:gd name="connsiteX47" fmla="*/ 292211 w 362117"/>
                <a:gd name="connsiteY47" fmla="*/ 237066 h 362116"/>
                <a:gd name="connsiteX48" fmla="*/ 292211 w 362117"/>
                <a:gd name="connsiteY48" fmla="*/ 236619 h 362116"/>
                <a:gd name="connsiteX49" fmla="*/ 302052 w 362117"/>
                <a:gd name="connsiteY49" fmla="*/ 226778 h 362116"/>
                <a:gd name="connsiteX50" fmla="*/ 303202 w 362117"/>
                <a:gd name="connsiteY50" fmla="*/ 226778 h 362116"/>
                <a:gd name="connsiteX51" fmla="*/ 313298 w 362117"/>
                <a:gd name="connsiteY51" fmla="*/ 236427 h 362116"/>
                <a:gd name="connsiteX52" fmla="*/ 313298 w 362117"/>
                <a:gd name="connsiteY52" fmla="*/ 236427 h 362116"/>
                <a:gd name="connsiteX53" fmla="*/ 313298 w 362117"/>
                <a:gd name="connsiteY53" fmla="*/ 237066 h 362116"/>
                <a:gd name="connsiteX54" fmla="*/ 342692 w 362117"/>
                <a:gd name="connsiteY54" fmla="*/ 278153 h 362116"/>
                <a:gd name="connsiteX55" fmla="*/ 342692 w 362117"/>
                <a:gd name="connsiteY55" fmla="*/ 342500 h 362116"/>
                <a:gd name="connsiteX56" fmla="*/ 342692 w 362117"/>
                <a:gd name="connsiteY56" fmla="*/ 342500 h 362116"/>
                <a:gd name="connsiteX57" fmla="*/ 342756 w 362117"/>
                <a:gd name="connsiteY57" fmla="*/ 264606 h 362116"/>
                <a:gd name="connsiteX58" fmla="*/ 326270 w 362117"/>
                <a:gd name="connsiteY58" fmla="*/ 237769 h 362116"/>
                <a:gd name="connsiteX59" fmla="*/ 326270 w 362117"/>
                <a:gd name="connsiteY59" fmla="*/ 237066 h 362116"/>
                <a:gd name="connsiteX60" fmla="*/ 303074 w 362117"/>
                <a:gd name="connsiteY60" fmla="*/ 213998 h 362116"/>
                <a:gd name="connsiteX61" fmla="*/ 302308 w 362117"/>
                <a:gd name="connsiteY61" fmla="*/ 213998 h 362116"/>
                <a:gd name="connsiteX62" fmla="*/ 279239 w 362117"/>
                <a:gd name="connsiteY62" fmla="*/ 237066 h 362116"/>
                <a:gd name="connsiteX63" fmla="*/ 279239 w 362117"/>
                <a:gd name="connsiteY63" fmla="*/ 237769 h 362116"/>
                <a:gd name="connsiteX64" fmla="*/ 241284 w 362117"/>
                <a:gd name="connsiteY64" fmla="*/ 274958 h 362116"/>
                <a:gd name="connsiteX65" fmla="*/ 203328 w 362117"/>
                <a:gd name="connsiteY65" fmla="*/ 237066 h 362116"/>
                <a:gd name="connsiteX66" fmla="*/ 203328 w 362117"/>
                <a:gd name="connsiteY66" fmla="*/ 235532 h 362116"/>
                <a:gd name="connsiteX67" fmla="*/ 203200 w 362117"/>
                <a:gd name="connsiteY67" fmla="*/ 235341 h 362116"/>
                <a:gd name="connsiteX68" fmla="*/ 180260 w 362117"/>
                <a:gd name="connsiteY68" fmla="*/ 213998 h 362116"/>
                <a:gd name="connsiteX69" fmla="*/ 157320 w 362117"/>
                <a:gd name="connsiteY69" fmla="*/ 235341 h 362116"/>
                <a:gd name="connsiteX70" fmla="*/ 157192 w 362117"/>
                <a:gd name="connsiteY70" fmla="*/ 237066 h 362116"/>
                <a:gd name="connsiteX71" fmla="*/ 119236 w 362117"/>
                <a:gd name="connsiteY71" fmla="*/ 274958 h 362116"/>
                <a:gd name="connsiteX72" fmla="*/ 81280 w 362117"/>
                <a:gd name="connsiteY72" fmla="*/ 237769 h 362116"/>
                <a:gd name="connsiteX73" fmla="*/ 81280 w 362117"/>
                <a:gd name="connsiteY73" fmla="*/ 237066 h 362116"/>
                <a:gd name="connsiteX74" fmla="*/ 58212 w 362117"/>
                <a:gd name="connsiteY74" fmla="*/ 213998 h 362116"/>
                <a:gd name="connsiteX75" fmla="*/ 57317 w 362117"/>
                <a:gd name="connsiteY75" fmla="*/ 213998 h 362116"/>
                <a:gd name="connsiteX76" fmla="*/ 34250 w 362117"/>
                <a:gd name="connsiteY76" fmla="*/ 237066 h 362116"/>
                <a:gd name="connsiteX77" fmla="*/ 34250 w 362117"/>
                <a:gd name="connsiteY77" fmla="*/ 237769 h 362116"/>
                <a:gd name="connsiteX78" fmla="*/ 19298 w 362117"/>
                <a:gd name="connsiteY78" fmla="*/ 264351 h 362116"/>
                <a:gd name="connsiteX79" fmla="*/ 19298 w 362117"/>
                <a:gd name="connsiteY79" fmla="*/ 200452 h 362116"/>
                <a:gd name="connsiteX80" fmla="*/ 342628 w 362117"/>
                <a:gd name="connsiteY80" fmla="*/ 200452 h 362116"/>
                <a:gd name="connsiteX81" fmla="*/ 342628 w 362117"/>
                <a:gd name="connsiteY81" fmla="*/ 264543 h 362116"/>
                <a:gd name="connsiteX82" fmla="*/ 342628 w 362117"/>
                <a:gd name="connsiteY82" fmla="*/ 264543 h 362116"/>
                <a:gd name="connsiteX83" fmla="*/ 75018 w 362117"/>
                <a:gd name="connsiteY83" fmla="*/ 77446 h 362116"/>
                <a:gd name="connsiteX84" fmla="*/ 100513 w 362117"/>
                <a:gd name="connsiteY84" fmla="*/ 52014 h 362116"/>
                <a:gd name="connsiteX85" fmla="*/ 80513 w 362117"/>
                <a:gd name="connsiteY85" fmla="*/ 7860 h 362116"/>
                <a:gd name="connsiteX86" fmla="*/ 75337 w 362117"/>
                <a:gd name="connsiteY86" fmla="*/ 0 h 362116"/>
                <a:gd name="connsiteX87" fmla="*/ 69906 w 362117"/>
                <a:gd name="connsiteY87" fmla="*/ 7668 h 362116"/>
                <a:gd name="connsiteX88" fmla="*/ 48499 w 362117"/>
                <a:gd name="connsiteY88" fmla="*/ 49905 h 362116"/>
                <a:gd name="connsiteX89" fmla="*/ 55976 w 362117"/>
                <a:gd name="connsiteY89" fmla="*/ 69075 h 362116"/>
                <a:gd name="connsiteX90" fmla="*/ 75018 w 362117"/>
                <a:gd name="connsiteY90" fmla="*/ 77510 h 362116"/>
                <a:gd name="connsiteX91" fmla="*/ 75018 w 362117"/>
                <a:gd name="connsiteY91" fmla="*/ 77510 h 362116"/>
                <a:gd name="connsiteX92" fmla="*/ 74954 w 362117"/>
                <a:gd name="connsiteY92" fmla="*/ 23259 h 362116"/>
                <a:gd name="connsiteX93" fmla="*/ 87606 w 362117"/>
                <a:gd name="connsiteY93" fmla="*/ 51439 h 362116"/>
                <a:gd name="connsiteX94" fmla="*/ 75018 w 362117"/>
                <a:gd name="connsiteY94" fmla="*/ 64538 h 362116"/>
                <a:gd name="connsiteX95" fmla="*/ 65305 w 362117"/>
                <a:gd name="connsiteY95" fmla="*/ 60129 h 362116"/>
                <a:gd name="connsiteX96" fmla="*/ 61407 w 362117"/>
                <a:gd name="connsiteY96" fmla="*/ 50480 h 362116"/>
                <a:gd name="connsiteX97" fmla="*/ 74954 w 362117"/>
                <a:gd name="connsiteY97" fmla="*/ 23259 h 362116"/>
                <a:gd name="connsiteX98" fmla="*/ 74954 w 362117"/>
                <a:gd name="connsiteY98" fmla="*/ 23259 h 362116"/>
                <a:gd name="connsiteX99" fmla="*/ 183135 w 362117"/>
                <a:gd name="connsiteY99" fmla="*/ 77574 h 362116"/>
                <a:gd name="connsiteX100" fmla="*/ 208631 w 362117"/>
                <a:gd name="connsiteY100" fmla="*/ 52142 h 362116"/>
                <a:gd name="connsiteX101" fmla="*/ 188631 w 362117"/>
                <a:gd name="connsiteY101" fmla="*/ 7987 h 362116"/>
                <a:gd name="connsiteX102" fmla="*/ 183454 w 362117"/>
                <a:gd name="connsiteY102" fmla="*/ 128 h 362116"/>
                <a:gd name="connsiteX103" fmla="*/ 178023 w 362117"/>
                <a:gd name="connsiteY103" fmla="*/ 7796 h 362116"/>
                <a:gd name="connsiteX104" fmla="*/ 156617 w 362117"/>
                <a:gd name="connsiteY104" fmla="*/ 50033 h 362116"/>
                <a:gd name="connsiteX105" fmla="*/ 164094 w 362117"/>
                <a:gd name="connsiteY105" fmla="*/ 69203 h 362116"/>
                <a:gd name="connsiteX106" fmla="*/ 183135 w 362117"/>
                <a:gd name="connsiteY106" fmla="*/ 77574 h 362116"/>
                <a:gd name="connsiteX107" fmla="*/ 183135 w 362117"/>
                <a:gd name="connsiteY107" fmla="*/ 77574 h 362116"/>
                <a:gd name="connsiteX108" fmla="*/ 183071 w 362117"/>
                <a:gd name="connsiteY108" fmla="*/ 23387 h 362116"/>
                <a:gd name="connsiteX109" fmla="*/ 195723 w 362117"/>
                <a:gd name="connsiteY109" fmla="*/ 51567 h 362116"/>
                <a:gd name="connsiteX110" fmla="*/ 183135 w 362117"/>
                <a:gd name="connsiteY110" fmla="*/ 64666 h 362116"/>
                <a:gd name="connsiteX111" fmla="*/ 173423 w 362117"/>
                <a:gd name="connsiteY111" fmla="*/ 60257 h 362116"/>
                <a:gd name="connsiteX112" fmla="*/ 169525 w 362117"/>
                <a:gd name="connsiteY112" fmla="*/ 50608 h 362116"/>
                <a:gd name="connsiteX113" fmla="*/ 183071 w 362117"/>
                <a:gd name="connsiteY113" fmla="*/ 23387 h 362116"/>
                <a:gd name="connsiteX114" fmla="*/ 183071 w 362117"/>
                <a:gd name="connsiteY114" fmla="*/ 23387 h 362116"/>
                <a:gd name="connsiteX115" fmla="*/ 287802 w 362117"/>
                <a:gd name="connsiteY115" fmla="*/ 77446 h 362116"/>
                <a:gd name="connsiteX116" fmla="*/ 313298 w 362117"/>
                <a:gd name="connsiteY116" fmla="*/ 52014 h 362116"/>
                <a:gd name="connsiteX117" fmla="*/ 293298 w 362117"/>
                <a:gd name="connsiteY117" fmla="*/ 7860 h 362116"/>
                <a:gd name="connsiteX118" fmla="*/ 288121 w 362117"/>
                <a:gd name="connsiteY118" fmla="*/ 0 h 362116"/>
                <a:gd name="connsiteX119" fmla="*/ 282626 w 362117"/>
                <a:gd name="connsiteY119" fmla="*/ 7668 h 362116"/>
                <a:gd name="connsiteX120" fmla="*/ 261220 w 362117"/>
                <a:gd name="connsiteY120" fmla="*/ 49905 h 362116"/>
                <a:gd name="connsiteX121" fmla="*/ 268697 w 362117"/>
                <a:gd name="connsiteY121" fmla="*/ 69075 h 362116"/>
                <a:gd name="connsiteX122" fmla="*/ 287739 w 362117"/>
                <a:gd name="connsiteY122" fmla="*/ 77446 h 362116"/>
                <a:gd name="connsiteX123" fmla="*/ 287739 w 362117"/>
                <a:gd name="connsiteY123" fmla="*/ 77446 h 362116"/>
                <a:gd name="connsiteX124" fmla="*/ 287739 w 362117"/>
                <a:gd name="connsiteY124" fmla="*/ 23259 h 362116"/>
                <a:gd name="connsiteX125" fmla="*/ 300390 w 362117"/>
                <a:gd name="connsiteY125" fmla="*/ 51439 h 362116"/>
                <a:gd name="connsiteX126" fmla="*/ 287802 w 362117"/>
                <a:gd name="connsiteY126" fmla="*/ 64538 h 362116"/>
                <a:gd name="connsiteX127" fmla="*/ 278090 w 362117"/>
                <a:gd name="connsiteY127" fmla="*/ 60129 h 362116"/>
                <a:gd name="connsiteX128" fmla="*/ 274192 w 362117"/>
                <a:gd name="connsiteY128" fmla="*/ 50480 h 362116"/>
                <a:gd name="connsiteX129" fmla="*/ 287739 w 362117"/>
                <a:gd name="connsiteY129" fmla="*/ 23259 h 362116"/>
                <a:gd name="connsiteX130" fmla="*/ 287739 w 362117"/>
                <a:gd name="connsiteY130" fmla="*/ 23259 h 36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62117" h="362116">
                  <a:moveTo>
                    <a:pt x="349146" y="180962"/>
                  </a:moveTo>
                  <a:lnTo>
                    <a:pt x="303969" y="180962"/>
                  </a:lnTo>
                  <a:lnTo>
                    <a:pt x="303969" y="103453"/>
                  </a:lnTo>
                  <a:cubicBezTo>
                    <a:pt x="303969" y="99874"/>
                    <a:pt x="301029" y="96935"/>
                    <a:pt x="297451" y="96935"/>
                  </a:cubicBezTo>
                  <a:lnTo>
                    <a:pt x="278090" y="96935"/>
                  </a:lnTo>
                  <a:cubicBezTo>
                    <a:pt x="274511" y="96935"/>
                    <a:pt x="271636" y="99874"/>
                    <a:pt x="271636" y="103453"/>
                  </a:cubicBezTo>
                  <a:lnTo>
                    <a:pt x="271636" y="180962"/>
                  </a:lnTo>
                  <a:lnTo>
                    <a:pt x="200516" y="180962"/>
                  </a:lnTo>
                  <a:lnTo>
                    <a:pt x="200516" y="103453"/>
                  </a:lnTo>
                  <a:cubicBezTo>
                    <a:pt x="200516" y="99874"/>
                    <a:pt x="197577" y="96935"/>
                    <a:pt x="193998" y="96935"/>
                  </a:cubicBezTo>
                  <a:lnTo>
                    <a:pt x="174636" y="96935"/>
                  </a:lnTo>
                  <a:cubicBezTo>
                    <a:pt x="171058" y="96935"/>
                    <a:pt x="168183" y="99874"/>
                    <a:pt x="168183" y="103453"/>
                  </a:cubicBezTo>
                  <a:lnTo>
                    <a:pt x="168183" y="180962"/>
                  </a:lnTo>
                  <a:lnTo>
                    <a:pt x="90609" y="180962"/>
                  </a:lnTo>
                  <a:lnTo>
                    <a:pt x="90609" y="103453"/>
                  </a:lnTo>
                  <a:cubicBezTo>
                    <a:pt x="90609" y="99874"/>
                    <a:pt x="87670" y="96935"/>
                    <a:pt x="84092" y="96935"/>
                  </a:cubicBezTo>
                  <a:lnTo>
                    <a:pt x="64666" y="96935"/>
                  </a:lnTo>
                  <a:cubicBezTo>
                    <a:pt x="61088" y="96935"/>
                    <a:pt x="58212" y="99874"/>
                    <a:pt x="58212" y="103453"/>
                  </a:cubicBezTo>
                  <a:lnTo>
                    <a:pt x="58212" y="180962"/>
                  </a:lnTo>
                  <a:lnTo>
                    <a:pt x="13419" y="180962"/>
                  </a:lnTo>
                  <a:cubicBezTo>
                    <a:pt x="6262" y="180962"/>
                    <a:pt x="0" y="186841"/>
                    <a:pt x="0" y="193998"/>
                  </a:cubicBezTo>
                  <a:lnTo>
                    <a:pt x="0" y="349081"/>
                  </a:lnTo>
                  <a:cubicBezTo>
                    <a:pt x="0" y="356238"/>
                    <a:pt x="5879" y="362117"/>
                    <a:pt x="13036" y="362117"/>
                  </a:cubicBezTo>
                  <a:lnTo>
                    <a:pt x="349082" y="362117"/>
                  </a:lnTo>
                  <a:cubicBezTo>
                    <a:pt x="356238" y="362117"/>
                    <a:pt x="362117" y="356238"/>
                    <a:pt x="362117" y="349081"/>
                  </a:cubicBezTo>
                  <a:lnTo>
                    <a:pt x="362117" y="193998"/>
                  </a:lnTo>
                  <a:cubicBezTo>
                    <a:pt x="362117" y="186841"/>
                    <a:pt x="356238" y="180962"/>
                    <a:pt x="349146" y="180962"/>
                  </a:cubicBezTo>
                  <a:lnTo>
                    <a:pt x="349146" y="180962"/>
                  </a:lnTo>
                  <a:close/>
                  <a:moveTo>
                    <a:pt x="342756" y="342691"/>
                  </a:moveTo>
                  <a:lnTo>
                    <a:pt x="19426" y="342691"/>
                  </a:lnTo>
                  <a:lnTo>
                    <a:pt x="19426" y="278153"/>
                  </a:lnTo>
                  <a:cubicBezTo>
                    <a:pt x="37893" y="271955"/>
                    <a:pt x="47222" y="257002"/>
                    <a:pt x="47350" y="237194"/>
                  </a:cubicBezTo>
                  <a:lnTo>
                    <a:pt x="47350" y="236746"/>
                  </a:lnTo>
                  <a:cubicBezTo>
                    <a:pt x="47541" y="231315"/>
                    <a:pt x="51950" y="226906"/>
                    <a:pt x="56934" y="226906"/>
                  </a:cubicBezTo>
                  <a:cubicBezTo>
                    <a:pt x="57253" y="226906"/>
                    <a:pt x="57573" y="226970"/>
                    <a:pt x="57957" y="226970"/>
                  </a:cubicBezTo>
                  <a:lnTo>
                    <a:pt x="58724" y="226970"/>
                  </a:lnTo>
                  <a:cubicBezTo>
                    <a:pt x="63963" y="227098"/>
                    <a:pt x="68245" y="231315"/>
                    <a:pt x="68500" y="236555"/>
                  </a:cubicBezTo>
                  <a:lnTo>
                    <a:pt x="68500" y="236555"/>
                  </a:lnTo>
                  <a:lnTo>
                    <a:pt x="68500" y="237194"/>
                  </a:lnTo>
                  <a:cubicBezTo>
                    <a:pt x="68628" y="265118"/>
                    <a:pt x="91440" y="287866"/>
                    <a:pt x="119364" y="287866"/>
                  </a:cubicBezTo>
                  <a:cubicBezTo>
                    <a:pt x="147288" y="287866"/>
                    <a:pt x="169972" y="265309"/>
                    <a:pt x="170228" y="237513"/>
                  </a:cubicBezTo>
                  <a:lnTo>
                    <a:pt x="170228" y="237066"/>
                  </a:lnTo>
                  <a:cubicBezTo>
                    <a:pt x="170292" y="234702"/>
                    <a:pt x="171250" y="226842"/>
                    <a:pt x="180387" y="226842"/>
                  </a:cubicBezTo>
                  <a:cubicBezTo>
                    <a:pt x="189525" y="226842"/>
                    <a:pt x="190420" y="234638"/>
                    <a:pt x="190484" y="236938"/>
                  </a:cubicBezTo>
                  <a:lnTo>
                    <a:pt x="190484" y="238472"/>
                  </a:lnTo>
                  <a:cubicBezTo>
                    <a:pt x="190484" y="238472"/>
                    <a:pt x="190484" y="238472"/>
                    <a:pt x="190484" y="238472"/>
                  </a:cubicBezTo>
                  <a:cubicBezTo>
                    <a:pt x="191315" y="265821"/>
                    <a:pt x="213807" y="287738"/>
                    <a:pt x="241348" y="287738"/>
                  </a:cubicBezTo>
                  <a:cubicBezTo>
                    <a:pt x="268888" y="287738"/>
                    <a:pt x="292147" y="264990"/>
                    <a:pt x="292211" y="237066"/>
                  </a:cubicBezTo>
                  <a:lnTo>
                    <a:pt x="292211" y="236619"/>
                  </a:lnTo>
                  <a:cubicBezTo>
                    <a:pt x="292403" y="231251"/>
                    <a:pt x="296685" y="226906"/>
                    <a:pt x="302052" y="226778"/>
                  </a:cubicBezTo>
                  <a:cubicBezTo>
                    <a:pt x="302308" y="226778"/>
                    <a:pt x="302691" y="226778"/>
                    <a:pt x="303202" y="226778"/>
                  </a:cubicBezTo>
                  <a:cubicBezTo>
                    <a:pt x="308634" y="226778"/>
                    <a:pt x="313042" y="231059"/>
                    <a:pt x="313298" y="236427"/>
                  </a:cubicBezTo>
                  <a:lnTo>
                    <a:pt x="313298" y="236427"/>
                  </a:lnTo>
                  <a:lnTo>
                    <a:pt x="313298" y="237066"/>
                  </a:lnTo>
                  <a:cubicBezTo>
                    <a:pt x="313362" y="257002"/>
                    <a:pt x="323969" y="272083"/>
                    <a:pt x="342692" y="278153"/>
                  </a:cubicBezTo>
                  <a:lnTo>
                    <a:pt x="342692" y="342500"/>
                  </a:lnTo>
                  <a:lnTo>
                    <a:pt x="342692" y="342500"/>
                  </a:lnTo>
                  <a:close/>
                  <a:moveTo>
                    <a:pt x="342756" y="264606"/>
                  </a:moveTo>
                  <a:cubicBezTo>
                    <a:pt x="331956" y="259686"/>
                    <a:pt x="326525" y="250421"/>
                    <a:pt x="326270" y="237769"/>
                  </a:cubicBezTo>
                  <a:lnTo>
                    <a:pt x="326270" y="237066"/>
                  </a:lnTo>
                  <a:cubicBezTo>
                    <a:pt x="326270" y="224414"/>
                    <a:pt x="316109" y="214126"/>
                    <a:pt x="303074" y="213998"/>
                  </a:cubicBezTo>
                  <a:lnTo>
                    <a:pt x="302308" y="213998"/>
                  </a:lnTo>
                  <a:cubicBezTo>
                    <a:pt x="289592" y="213998"/>
                    <a:pt x="279239" y="224350"/>
                    <a:pt x="279239" y="237066"/>
                  </a:cubicBezTo>
                  <a:lnTo>
                    <a:pt x="279239" y="237769"/>
                  </a:lnTo>
                  <a:cubicBezTo>
                    <a:pt x="278856" y="258344"/>
                    <a:pt x="261987" y="274958"/>
                    <a:pt x="241284" y="274958"/>
                  </a:cubicBezTo>
                  <a:cubicBezTo>
                    <a:pt x="220580" y="274958"/>
                    <a:pt x="203328" y="257961"/>
                    <a:pt x="203328" y="237066"/>
                  </a:cubicBezTo>
                  <a:lnTo>
                    <a:pt x="203328" y="235532"/>
                  </a:lnTo>
                  <a:cubicBezTo>
                    <a:pt x="203328" y="235532"/>
                    <a:pt x="203200" y="235341"/>
                    <a:pt x="203200" y="235341"/>
                  </a:cubicBezTo>
                  <a:cubicBezTo>
                    <a:pt x="202560" y="228120"/>
                    <a:pt x="197641" y="213998"/>
                    <a:pt x="180260" y="213998"/>
                  </a:cubicBezTo>
                  <a:cubicBezTo>
                    <a:pt x="162879" y="213998"/>
                    <a:pt x="157959" y="228120"/>
                    <a:pt x="157320" y="235341"/>
                  </a:cubicBezTo>
                  <a:lnTo>
                    <a:pt x="157192" y="237066"/>
                  </a:lnTo>
                  <a:cubicBezTo>
                    <a:pt x="157192" y="257961"/>
                    <a:pt x="140195" y="274958"/>
                    <a:pt x="119236" y="274958"/>
                  </a:cubicBezTo>
                  <a:cubicBezTo>
                    <a:pt x="98277" y="274958"/>
                    <a:pt x="81663" y="258280"/>
                    <a:pt x="81280" y="237769"/>
                  </a:cubicBezTo>
                  <a:lnTo>
                    <a:pt x="81280" y="237066"/>
                  </a:lnTo>
                  <a:cubicBezTo>
                    <a:pt x="81280" y="224350"/>
                    <a:pt x="70928" y="213998"/>
                    <a:pt x="58212" y="213998"/>
                  </a:cubicBezTo>
                  <a:lnTo>
                    <a:pt x="57317" y="213998"/>
                  </a:lnTo>
                  <a:cubicBezTo>
                    <a:pt x="44602" y="213998"/>
                    <a:pt x="34250" y="224350"/>
                    <a:pt x="34250" y="237066"/>
                  </a:cubicBezTo>
                  <a:lnTo>
                    <a:pt x="34250" y="237769"/>
                  </a:lnTo>
                  <a:cubicBezTo>
                    <a:pt x="34058" y="250165"/>
                    <a:pt x="29777" y="259367"/>
                    <a:pt x="19298" y="264351"/>
                  </a:cubicBezTo>
                  <a:lnTo>
                    <a:pt x="19298" y="200452"/>
                  </a:lnTo>
                  <a:lnTo>
                    <a:pt x="342628" y="200452"/>
                  </a:lnTo>
                  <a:lnTo>
                    <a:pt x="342628" y="264543"/>
                  </a:lnTo>
                  <a:lnTo>
                    <a:pt x="342628" y="264543"/>
                  </a:lnTo>
                  <a:close/>
                  <a:moveTo>
                    <a:pt x="75018" y="77446"/>
                  </a:moveTo>
                  <a:cubicBezTo>
                    <a:pt x="89587" y="77446"/>
                    <a:pt x="99875" y="67222"/>
                    <a:pt x="100513" y="52014"/>
                  </a:cubicBezTo>
                  <a:cubicBezTo>
                    <a:pt x="101025" y="39490"/>
                    <a:pt x="83964" y="13035"/>
                    <a:pt x="80513" y="7860"/>
                  </a:cubicBezTo>
                  <a:lnTo>
                    <a:pt x="75337" y="0"/>
                  </a:lnTo>
                  <a:lnTo>
                    <a:pt x="69906" y="7668"/>
                  </a:lnTo>
                  <a:cubicBezTo>
                    <a:pt x="66455" y="12524"/>
                    <a:pt x="49011" y="37509"/>
                    <a:pt x="48499" y="49905"/>
                  </a:cubicBezTo>
                  <a:cubicBezTo>
                    <a:pt x="48180" y="56806"/>
                    <a:pt x="50928" y="63771"/>
                    <a:pt x="55976" y="69075"/>
                  </a:cubicBezTo>
                  <a:cubicBezTo>
                    <a:pt x="61088" y="74443"/>
                    <a:pt x="68053" y="77510"/>
                    <a:pt x="75018" y="77510"/>
                  </a:cubicBezTo>
                  <a:lnTo>
                    <a:pt x="75018" y="77510"/>
                  </a:lnTo>
                  <a:close/>
                  <a:moveTo>
                    <a:pt x="74954" y="23259"/>
                  </a:moveTo>
                  <a:cubicBezTo>
                    <a:pt x="81855" y="34761"/>
                    <a:pt x="87798" y="47030"/>
                    <a:pt x="87606" y="51439"/>
                  </a:cubicBezTo>
                  <a:cubicBezTo>
                    <a:pt x="87415" y="55401"/>
                    <a:pt x="85881" y="64538"/>
                    <a:pt x="75018" y="64538"/>
                  </a:cubicBezTo>
                  <a:cubicBezTo>
                    <a:pt x="71504" y="64538"/>
                    <a:pt x="67989" y="62941"/>
                    <a:pt x="65305" y="60129"/>
                  </a:cubicBezTo>
                  <a:cubicBezTo>
                    <a:pt x="62686" y="57381"/>
                    <a:pt x="61279" y="53867"/>
                    <a:pt x="61407" y="50480"/>
                  </a:cubicBezTo>
                  <a:cubicBezTo>
                    <a:pt x="61599" y="45560"/>
                    <a:pt x="68309" y="33483"/>
                    <a:pt x="74954" y="23259"/>
                  </a:cubicBezTo>
                  <a:lnTo>
                    <a:pt x="74954" y="23259"/>
                  </a:lnTo>
                  <a:close/>
                  <a:moveTo>
                    <a:pt x="183135" y="77574"/>
                  </a:moveTo>
                  <a:cubicBezTo>
                    <a:pt x="197705" y="77574"/>
                    <a:pt x="207928" y="67350"/>
                    <a:pt x="208631" y="52142"/>
                  </a:cubicBezTo>
                  <a:cubicBezTo>
                    <a:pt x="209142" y="39617"/>
                    <a:pt x="192082" y="13163"/>
                    <a:pt x="188631" y="7987"/>
                  </a:cubicBezTo>
                  <a:lnTo>
                    <a:pt x="183454" y="128"/>
                  </a:lnTo>
                  <a:lnTo>
                    <a:pt x="178023" y="7796"/>
                  </a:lnTo>
                  <a:cubicBezTo>
                    <a:pt x="174509" y="12652"/>
                    <a:pt x="157128" y="37637"/>
                    <a:pt x="156617" y="50033"/>
                  </a:cubicBezTo>
                  <a:cubicBezTo>
                    <a:pt x="156297" y="56934"/>
                    <a:pt x="159045" y="63899"/>
                    <a:pt x="164094" y="69203"/>
                  </a:cubicBezTo>
                  <a:cubicBezTo>
                    <a:pt x="169205" y="74570"/>
                    <a:pt x="176171" y="77574"/>
                    <a:pt x="183135" y="77574"/>
                  </a:cubicBezTo>
                  <a:lnTo>
                    <a:pt x="183135" y="77574"/>
                  </a:lnTo>
                  <a:close/>
                  <a:moveTo>
                    <a:pt x="183071" y="23387"/>
                  </a:moveTo>
                  <a:cubicBezTo>
                    <a:pt x="189972" y="34889"/>
                    <a:pt x="195915" y="47158"/>
                    <a:pt x="195723" y="51567"/>
                  </a:cubicBezTo>
                  <a:cubicBezTo>
                    <a:pt x="195532" y="55528"/>
                    <a:pt x="193934" y="64666"/>
                    <a:pt x="183135" y="64666"/>
                  </a:cubicBezTo>
                  <a:cubicBezTo>
                    <a:pt x="179621" y="64666"/>
                    <a:pt x="176107" y="63068"/>
                    <a:pt x="173423" y="60257"/>
                  </a:cubicBezTo>
                  <a:cubicBezTo>
                    <a:pt x="170803" y="57509"/>
                    <a:pt x="169397" y="53995"/>
                    <a:pt x="169525" y="50608"/>
                  </a:cubicBezTo>
                  <a:cubicBezTo>
                    <a:pt x="169717" y="45688"/>
                    <a:pt x="176426" y="33611"/>
                    <a:pt x="183071" y="23387"/>
                  </a:cubicBezTo>
                  <a:lnTo>
                    <a:pt x="183071" y="23387"/>
                  </a:lnTo>
                  <a:close/>
                  <a:moveTo>
                    <a:pt x="287802" y="77446"/>
                  </a:moveTo>
                  <a:cubicBezTo>
                    <a:pt x="302372" y="77446"/>
                    <a:pt x="312595" y="67222"/>
                    <a:pt x="313298" y="52014"/>
                  </a:cubicBezTo>
                  <a:cubicBezTo>
                    <a:pt x="313809" y="39490"/>
                    <a:pt x="296749" y="13035"/>
                    <a:pt x="293298" y="7860"/>
                  </a:cubicBezTo>
                  <a:lnTo>
                    <a:pt x="288121" y="0"/>
                  </a:lnTo>
                  <a:lnTo>
                    <a:pt x="282626" y="7668"/>
                  </a:lnTo>
                  <a:cubicBezTo>
                    <a:pt x="279112" y="12524"/>
                    <a:pt x="261731" y="37509"/>
                    <a:pt x="261220" y="49905"/>
                  </a:cubicBezTo>
                  <a:cubicBezTo>
                    <a:pt x="260964" y="56806"/>
                    <a:pt x="263648" y="63835"/>
                    <a:pt x="268697" y="69075"/>
                  </a:cubicBezTo>
                  <a:cubicBezTo>
                    <a:pt x="273808" y="74379"/>
                    <a:pt x="280774" y="77446"/>
                    <a:pt x="287739" y="77446"/>
                  </a:cubicBezTo>
                  <a:lnTo>
                    <a:pt x="287739" y="77446"/>
                  </a:lnTo>
                  <a:close/>
                  <a:moveTo>
                    <a:pt x="287739" y="23259"/>
                  </a:moveTo>
                  <a:cubicBezTo>
                    <a:pt x="294639" y="34761"/>
                    <a:pt x="300582" y="47030"/>
                    <a:pt x="300390" y="51439"/>
                  </a:cubicBezTo>
                  <a:cubicBezTo>
                    <a:pt x="300199" y="55401"/>
                    <a:pt x="298601" y="64538"/>
                    <a:pt x="287802" y="64538"/>
                  </a:cubicBezTo>
                  <a:cubicBezTo>
                    <a:pt x="284288" y="64538"/>
                    <a:pt x="280774" y="62941"/>
                    <a:pt x="278090" y="60129"/>
                  </a:cubicBezTo>
                  <a:cubicBezTo>
                    <a:pt x="275470" y="57381"/>
                    <a:pt x="274064" y="53867"/>
                    <a:pt x="274192" y="50480"/>
                  </a:cubicBezTo>
                  <a:cubicBezTo>
                    <a:pt x="274384" y="45560"/>
                    <a:pt x="281093" y="33483"/>
                    <a:pt x="287739" y="23259"/>
                  </a:cubicBezTo>
                  <a:lnTo>
                    <a:pt x="287739" y="23259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17E77D20-2007-2D89-05F2-96D874E10D96}"/>
                </a:ext>
              </a:extLst>
            </p:cNvPr>
            <p:cNvSpPr/>
            <p:nvPr/>
          </p:nvSpPr>
          <p:spPr>
            <a:xfrm>
              <a:off x="6289264" y="371235"/>
              <a:ext cx="327483" cy="346205"/>
            </a:xfrm>
            <a:custGeom>
              <a:avLst/>
              <a:gdLst>
                <a:gd name="connsiteX0" fmla="*/ 317387 w 327483"/>
                <a:gd name="connsiteY0" fmla="*/ 0 h 346205"/>
                <a:gd name="connsiteX1" fmla="*/ 245309 w 327483"/>
                <a:gd name="connsiteY1" fmla="*/ 0 h 346205"/>
                <a:gd name="connsiteX2" fmla="*/ 235149 w 327483"/>
                <a:gd name="connsiteY2" fmla="*/ 10160 h 346205"/>
                <a:gd name="connsiteX3" fmla="*/ 245309 w 327483"/>
                <a:gd name="connsiteY3" fmla="*/ 20320 h 346205"/>
                <a:gd name="connsiteX4" fmla="*/ 292020 w 327483"/>
                <a:gd name="connsiteY4" fmla="*/ 20320 h 346205"/>
                <a:gd name="connsiteX5" fmla="*/ 212146 w 327483"/>
                <a:gd name="connsiteY5" fmla="*/ 99427 h 346205"/>
                <a:gd name="connsiteX6" fmla="*/ 163838 w 327483"/>
                <a:gd name="connsiteY6" fmla="*/ 82366 h 346205"/>
                <a:gd name="connsiteX7" fmla="*/ 115594 w 327483"/>
                <a:gd name="connsiteY7" fmla="*/ 99363 h 346205"/>
                <a:gd name="connsiteX8" fmla="*/ 92207 w 327483"/>
                <a:gd name="connsiteY8" fmla="*/ 76232 h 346205"/>
                <a:gd name="connsiteX9" fmla="*/ 117638 w 327483"/>
                <a:gd name="connsiteY9" fmla="*/ 51503 h 346205"/>
                <a:gd name="connsiteX10" fmla="*/ 102686 w 327483"/>
                <a:gd name="connsiteY10" fmla="*/ 36167 h 346205"/>
                <a:gd name="connsiteX11" fmla="*/ 76935 w 327483"/>
                <a:gd name="connsiteY11" fmla="*/ 61215 h 346205"/>
                <a:gd name="connsiteX12" fmla="*/ 35592 w 327483"/>
                <a:gd name="connsiteY12" fmla="*/ 20320 h 346205"/>
                <a:gd name="connsiteX13" fmla="*/ 82238 w 327483"/>
                <a:gd name="connsiteY13" fmla="*/ 20320 h 346205"/>
                <a:gd name="connsiteX14" fmla="*/ 92398 w 327483"/>
                <a:gd name="connsiteY14" fmla="*/ 10160 h 346205"/>
                <a:gd name="connsiteX15" fmla="*/ 82238 w 327483"/>
                <a:gd name="connsiteY15" fmla="*/ 0 h 346205"/>
                <a:gd name="connsiteX16" fmla="*/ 10160 w 327483"/>
                <a:gd name="connsiteY16" fmla="*/ 0 h 346205"/>
                <a:gd name="connsiteX17" fmla="*/ 0 w 327483"/>
                <a:gd name="connsiteY17" fmla="*/ 10160 h 346205"/>
                <a:gd name="connsiteX18" fmla="*/ 0 w 327483"/>
                <a:gd name="connsiteY18" fmla="*/ 82238 h 346205"/>
                <a:gd name="connsiteX19" fmla="*/ 3003 w 327483"/>
                <a:gd name="connsiteY19" fmla="*/ 89459 h 346205"/>
                <a:gd name="connsiteX20" fmla="*/ 10224 w 327483"/>
                <a:gd name="connsiteY20" fmla="*/ 92462 h 346205"/>
                <a:gd name="connsiteX21" fmla="*/ 20384 w 327483"/>
                <a:gd name="connsiteY21" fmla="*/ 82302 h 346205"/>
                <a:gd name="connsiteX22" fmla="*/ 20384 w 327483"/>
                <a:gd name="connsiteY22" fmla="*/ 35528 h 346205"/>
                <a:gd name="connsiteX23" fmla="*/ 61535 w 327483"/>
                <a:gd name="connsiteY23" fmla="*/ 76296 h 346205"/>
                <a:gd name="connsiteX24" fmla="*/ 36167 w 327483"/>
                <a:gd name="connsiteY24" fmla="*/ 101025 h 346205"/>
                <a:gd name="connsiteX25" fmla="*/ 51119 w 327483"/>
                <a:gd name="connsiteY25" fmla="*/ 116360 h 346205"/>
                <a:gd name="connsiteX26" fmla="*/ 76807 w 327483"/>
                <a:gd name="connsiteY26" fmla="*/ 91376 h 346205"/>
                <a:gd name="connsiteX27" fmla="*/ 100833 w 327483"/>
                <a:gd name="connsiteY27" fmla="*/ 115146 h 346205"/>
                <a:gd name="connsiteX28" fmla="*/ 86519 w 327483"/>
                <a:gd name="connsiteY28" fmla="*/ 159812 h 346205"/>
                <a:gd name="connsiteX29" fmla="*/ 153103 w 327483"/>
                <a:gd name="connsiteY29" fmla="*/ 236235 h 346205"/>
                <a:gd name="connsiteX30" fmla="*/ 153103 w 327483"/>
                <a:gd name="connsiteY30" fmla="*/ 274064 h 346205"/>
                <a:gd name="connsiteX31" fmla="*/ 128310 w 327483"/>
                <a:gd name="connsiteY31" fmla="*/ 274064 h 346205"/>
                <a:gd name="connsiteX32" fmla="*/ 117638 w 327483"/>
                <a:gd name="connsiteY32" fmla="*/ 284735 h 346205"/>
                <a:gd name="connsiteX33" fmla="*/ 128310 w 327483"/>
                <a:gd name="connsiteY33" fmla="*/ 295406 h 346205"/>
                <a:gd name="connsiteX34" fmla="*/ 153103 w 327483"/>
                <a:gd name="connsiteY34" fmla="*/ 295406 h 346205"/>
                <a:gd name="connsiteX35" fmla="*/ 153103 w 327483"/>
                <a:gd name="connsiteY35" fmla="*/ 335535 h 346205"/>
                <a:gd name="connsiteX36" fmla="*/ 163774 w 327483"/>
                <a:gd name="connsiteY36" fmla="*/ 346206 h 346205"/>
                <a:gd name="connsiteX37" fmla="*/ 174445 w 327483"/>
                <a:gd name="connsiteY37" fmla="*/ 335535 h 346205"/>
                <a:gd name="connsiteX38" fmla="*/ 174445 w 327483"/>
                <a:gd name="connsiteY38" fmla="*/ 295406 h 346205"/>
                <a:gd name="connsiteX39" fmla="*/ 199557 w 327483"/>
                <a:gd name="connsiteY39" fmla="*/ 295406 h 346205"/>
                <a:gd name="connsiteX40" fmla="*/ 210229 w 327483"/>
                <a:gd name="connsiteY40" fmla="*/ 284735 h 346205"/>
                <a:gd name="connsiteX41" fmla="*/ 199557 w 327483"/>
                <a:gd name="connsiteY41" fmla="*/ 274064 h 346205"/>
                <a:gd name="connsiteX42" fmla="*/ 174445 w 327483"/>
                <a:gd name="connsiteY42" fmla="*/ 274064 h 346205"/>
                <a:gd name="connsiteX43" fmla="*/ 174445 w 327483"/>
                <a:gd name="connsiteY43" fmla="*/ 236235 h 346205"/>
                <a:gd name="connsiteX44" fmla="*/ 241028 w 327483"/>
                <a:gd name="connsiteY44" fmla="*/ 159812 h 346205"/>
                <a:gd name="connsiteX45" fmla="*/ 226714 w 327483"/>
                <a:gd name="connsiteY45" fmla="*/ 115146 h 346205"/>
                <a:gd name="connsiteX46" fmla="*/ 307100 w 327483"/>
                <a:gd name="connsiteY46" fmla="*/ 35528 h 346205"/>
                <a:gd name="connsiteX47" fmla="*/ 307100 w 327483"/>
                <a:gd name="connsiteY47" fmla="*/ 82302 h 346205"/>
                <a:gd name="connsiteX48" fmla="*/ 317260 w 327483"/>
                <a:gd name="connsiteY48" fmla="*/ 92462 h 346205"/>
                <a:gd name="connsiteX49" fmla="*/ 324481 w 327483"/>
                <a:gd name="connsiteY49" fmla="*/ 89459 h 346205"/>
                <a:gd name="connsiteX50" fmla="*/ 327484 w 327483"/>
                <a:gd name="connsiteY50" fmla="*/ 82238 h 346205"/>
                <a:gd name="connsiteX51" fmla="*/ 327484 w 327483"/>
                <a:gd name="connsiteY51" fmla="*/ 10160 h 346205"/>
                <a:gd name="connsiteX52" fmla="*/ 317323 w 327483"/>
                <a:gd name="connsiteY52" fmla="*/ 0 h 346205"/>
                <a:gd name="connsiteX53" fmla="*/ 20512 w 327483"/>
                <a:gd name="connsiteY53" fmla="*/ 20384 h 346205"/>
                <a:gd name="connsiteX54" fmla="*/ 20512 w 327483"/>
                <a:gd name="connsiteY54" fmla="*/ 20384 h 346205"/>
                <a:gd name="connsiteX55" fmla="*/ 20512 w 327483"/>
                <a:gd name="connsiteY55" fmla="*/ 20384 h 346205"/>
                <a:gd name="connsiteX56" fmla="*/ 20512 w 327483"/>
                <a:gd name="connsiteY56" fmla="*/ 20384 h 346205"/>
                <a:gd name="connsiteX57" fmla="*/ 163838 w 327483"/>
                <a:gd name="connsiteY57" fmla="*/ 215660 h 346205"/>
                <a:gd name="connsiteX58" fmla="*/ 107990 w 327483"/>
                <a:gd name="connsiteY58" fmla="*/ 159812 h 346205"/>
                <a:gd name="connsiteX59" fmla="*/ 163838 w 327483"/>
                <a:gd name="connsiteY59" fmla="*/ 103964 h 346205"/>
                <a:gd name="connsiteX60" fmla="*/ 219686 w 327483"/>
                <a:gd name="connsiteY60" fmla="*/ 159812 h 346205"/>
                <a:gd name="connsiteX61" fmla="*/ 163838 w 327483"/>
                <a:gd name="connsiteY61" fmla="*/ 215660 h 346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27483" h="346205">
                  <a:moveTo>
                    <a:pt x="317387" y="0"/>
                  </a:moveTo>
                  <a:lnTo>
                    <a:pt x="245309" y="0"/>
                  </a:lnTo>
                  <a:cubicBezTo>
                    <a:pt x="239686" y="0"/>
                    <a:pt x="235149" y="4537"/>
                    <a:pt x="235149" y="10160"/>
                  </a:cubicBezTo>
                  <a:cubicBezTo>
                    <a:pt x="235149" y="15783"/>
                    <a:pt x="239686" y="20320"/>
                    <a:pt x="245309" y="20320"/>
                  </a:cubicBezTo>
                  <a:lnTo>
                    <a:pt x="292020" y="20320"/>
                  </a:lnTo>
                  <a:lnTo>
                    <a:pt x="212146" y="99427"/>
                  </a:lnTo>
                  <a:cubicBezTo>
                    <a:pt x="198918" y="88820"/>
                    <a:pt x="182113" y="82366"/>
                    <a:pt x="163838" y="82366"/>
                  </a:cubicBezTo>
                  <a:cubicBezTo>
                    <a:pt x="145563" y="82366"/>
                    <a:pt x="128821" y="88756"/>
                    <a:pt x="115594" y="99363"/>
                  </a:cubicBezTo>
                  <a:lnTo>
                    <a:pt x="92207" y="76232"/>
                  </a:lnTo>
                  <a:lnTo>
                    <a:pt x="117638" y="51503"/>
                  </a:lnTo>
                  <a:lnTo>
                    <a:pt x="102686" y="36167"/>
                  </a:lnTo>
                  <a:lnTo>
                    <a:pt x="76935" y="61215"/>
                  </a:lnTo>
                  <a:lnTo>
                    <a:pt x="35592" y="20320"/>
                  </a:lnTo>
                  <a:lnTo>
                    <a:pt x="82238" y="20320"/>
                  </a:lnTo>
                  <a:cubicBezTo>
                    <a:pt x="87861" y="20320"/>
                    <a:pt x="92398" y="15783"/>
                    <a:pt x="92398" y="10160"/>
                  </a:cubicBezTo>
                  <a:cubicBezTo>
                    <a:pt x="92398" y="4537"/>
                    <a:pt x="87861" y="0"/>
                    <a:pt x="82238" y="0"/>
                  </a:cubicBezTo>
                  <a:lnTo>
                    <a:pt x="10160" y="0"/>
                  </a:lnTo>
                  <a:cubicBezTo>
                    <a:pt x="4537" y="0"/>
                    <a:pt x="0" y="4537"/>
                    <a:pt x="0" y="10160"/>
                  </a:cubicBezTo>
                  <a:lnTo>
                    <a:pt x="0" y="82238"/>
                  </a:lnTo>
                  <a:cubicBezTo>
                    <a:pt x="0" y="85050"/>
                    <a:pt x="1150" y="87606"/>
                    <a:pt x="3003" y="89459"/>
                  </a:cubicBezTo>
                  <a:cubicBezTo>
                    <a:pt x="4856" y="91312"/>
                    <a:pt x="7412" y="92462"/>
                    <a:pt x="10224" y="92462"/>
                  </a:cubicBezTo>
                  <a:cubicBezTo>
                    <a:pt x="15847" y="92462"/>
                    <a:pt x="20384" y="87925"/>
                    <a:pt x="20384" y="82302"/>
                  </a:cubicBezTo>
                  <a:lnTo>
                    <a:pt x="20384" y="35528"/>
                  </a:lnTo>
                  <a:lnTo>
                    <a:pt x="61535" y="76296"/>
                  </a:lnTo>
                  <a:lnTo>
                    <a:pt x="36167" y="101025"/>
                  </a:lnTo>
                  <a:lnTo>
                    <a:pt x="51119" y="116360"/>
                  </a:lnTo>
                  <a:lnTo>
                    <a:pt x="76807" y="91376"/>
                  </a:lnTo>
                  <a:lnTo>
                    <a:pt x="100833" y="115146"/>
                  </a:lnTo>
                  <a:cubicBezTo>
                    <a:pt x="91823" y="127798"/>
                    <a:pt x="86519" y="143198"/>
                    <a:pt x="86519" y="159812"/>
                  </a:cubicBezTo>
                  <a:cubicBezTo>
                    <a:pt x="86519" y="198790"/>
                    <a:pt x="115530" y="230996"/>
                    <a:pt x="153103" y="236235"/>
                  </a:cubicBezTo>
                  <a:lnTo>
                    <a:pt x="153103" y="274064"/>
                  </a:lnTo>
                  <a:lnTo>
                    <a:pt x="128310" y="274064"/>
                  </a:lnTo>
                  <a:cubicBezTo>
                    <a:pt x="122431" y="274064"/>
                    <a:pt x="117638" y="278856"/>
                    <a:pt x="117638" y="284735"/>
                  </a:cubicBezTo>
                  <a:cubicBezTo>
                    <a:pt x="117638" y="290613"/>
                    <a:pt x="122431" y="295406"/>
                    <a:pt x="128310" y="295406"/>
                  </a:cubicBezTo>
                  <a:lnTo>
                    <a:pt x="153103" y="295406"/>
                  </a:lnTo>
                  <a:lnTo>
                    <a:pt x="153103" y="335535"/>
                  </a:lnTo>
                  <a:cubicBezTo>
                    <a:pt x="153103" y="341413"/>
                    <a:pt x="157895" y="346206"/>
                    <a:pt x="163774" y="346206"/>
                  </a:cubicBezTo>
                  <a:cubicBezTo>
                    <a:pt x="169652" y="346206"/>
                    <a:pt x="174445" y="341413"/>
                    <a:pt x="174445" y="335535"/>
                  </a:cubicBezTo>
                  <a:lnTo>
                    <a:pt x="174445" y="295406"/>
                  </a:lnTo>
                  <a:lnTo>
                    <a:pt x="199557" y="295406"/>
                  </a:lnTo>
                  <a:cubicBezTo>
                    <a:pt x="205436" y="295406"/>
                    <a:pt x="210229" y="290613"/>
                    <a:pt x="210229" y="284735"/>
                  </a:cubicBezTo>
                  <a:cubicBezTo>
                    <a:pt x="210229" y="278856"/>
                    <a:pt x="205436" y="274064"/>
                    <a:pt x="199557" y="274064"/>
                  </a:cubicBezTo>
                  <a:lnTo>
                    <a:pt x="174445" y="274064"/>
                  </a:lnTo>
                  <a:lnTo>
                    <a:pt x="174445" y="236235"/>
                  </a:lnTo>
                  <a:cubicBezTo>
                    <a:pt x="212018" y="230996"/>
                    <a:pt x="241028" y="198726"/>
                    <a:pt x="241028" y="159812"/>
                  </a:cubicBezTo>
                  <a:cubicBezTo>
                    <a:pt x="241028" y="143198"/>
                    <a:pt x="235660" y="127798"/>
                    <a:pt x="226714" y="115146"/>
                  </a:cubicBezTo>
                  <a:lnTo>
                    <a:pt x="307100" y="35528"/>
                  </a:lnTo>
                  <a:lnTo>
                    <a:pt x="307100" y="82302"/>
                  </a:lnTo>
                  <a:cubicBezTo>
                    <a:pt x="307100" y="87925"/>
                    <a:pt x="311637" y="92462"/>
                    <a:pt x="317260" y="92462"/>
                  </a:cubicBezTo>
                  <a:cubicBezTo>
                    <a:pt x="320072" y="92462"/>
                    <a:pt x="322627" y="91312"/>
                    <a:pt x="324481" y="89459"/>
                  </a:cubicBezTo>
                  <a:cubicBezTo>
                    <a:pt x="326334" y="87606"/>
                    <a:pt x="327484" y="85050"/>
                    <a:pt x="327484" y="82238"/>
                  </a:cubicBezTo>
                  <a:lnTo>
                    <a:pt x="327484" y="10160"/>
                  </a:lnTo>
                  <a:cubicBezTo>
                    <a:pt x="327484" y="4537"/>
                    <a:pt x="322947" y="0"/>
                    <a:pt x="317323" y="0"/>
                  </a:cubicBezTo>
                  <a:close/>
                  <a:moveTo>
                    <a:pt x="20512" y="20384"/>
                  </a:moveTo>
                  <a:lnTo>
                    <a:pt x="20512" y="20384"/>
                  </a:lnTo>
                  <a:cubicBezTo>
                    <a:pt x="20512" y="20384"/>
                    <a:pt x="20512" y="20384"/>
                    <a:pt x="20512" y="20384"/>
                  </a:cubicBezTo>
                  <a:lnTo>
                    <a:pt x="20512" y="20384"/>
                  </a:lnTo>
                  <a:close/>
                  <a:moveTo>
                    <a:pt x="163838" y="215660"/>
                  </a:moveTo>
                  <a:cubicBezTo>
                    <a:pt x="133038" y="215660"/>
                    <a:pt x="107990" y="190611"/>
                    <a:pt x="107990" y="159812"/>
                  </a:cubicBezTo>
                  <a:cubicBezTo>
                    <a:pt x="107990" y="129012"/>
                    <a:pt x="133038" y="103964"/>
                    <a:pt x="163838" y="103964"/>
                  </a:cubicBezTo>
                  <a:cubicBezTo>
                    <a:pt x="194637" y="103964"/>
                    <a:pt x="219686" y="129012"/>
                    <a:pt x="219686" y="159812"/>
                  </a:cubicBezTo>
                  <a:cubicBezTo>
                    <a:pt x="219686" y="190611"/>
                    <a:pt x="194637" y="215660"/>
                    <a:pt x="163838" y="21566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2" name="Grafik 5">
              <a:extLst>
                <a:ext uri="{FF2B5EF4-FFF2-40B4-BE49-F238E27FC236}">
                  <a16:creationId xmlns:a16="http://schemas.microsoft.com/office/drawing/2014/main" id="{597922D3-C3B4-0F7E-17FC-D48BFA739CE9}"/>
                </a:ext>
              </a:extLst>
            </p:cNvPr>
            <p:cNvGrpSpPr/>
            <p:nvPr/>
          </p:nvGrpSpPr>
          <p:grpSpPr>
            <a:xfrm>
              <a:off x="5092431" y="303311"/>
              <a:ext cx="456176" cy="482119"/>
              <a:chOff x="5092431" y="303311"/>
              <a:chExt cx="456176" cy="482119"/>
            </a:xfrm>
            <a:solidFill>
              <a:srgbClr val="FFFFFF"/>
            </a:solidFill>
          </p:grpSpPr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FBA3126B-9C17-F95D-25D7-8CF98413A58A}"/>
                  </a:ext>
                </a:extLst>
              </p:cNvPr>
              <p:cNvSpPr/>
              <p:nvPr/>
            </p:nvSpPr>
            <p:spPr>
              <a:xfrm>
                <a:off x="5157033" y="548172"/>
                <a:ext cx="95976" cy="135402"/>
              </a:xfrm>
              <a:custGeom>
                <a:avLst/>
                <a:gdLst>
                  <a:gd name="connsiteX0" fmla="*/ 0 w 95976"/>
                  <a:gd name="connsiteY0" fmla="*/ 47797 h 135402"/>
                  <a:gd name="connsiteX1" fmla="*/ 0 w 95976"/>
                  <a:gd name="connsiteY1" fmla="*/ 87606 h 135402"/>
                  <a:gd name="connsiteX2" fmla="*/ 47988 w 95976"/>
                  <a:gd name="connsiteY2" fmla="*/ 135402 h 135402"/>
                  <a:gd name="connsiteX3" fmla="*/ 95977 w 95976"/>
                  <a:gd name="connsiteY3" fmla="*/ 87606 h 135402"/>
                  <a:gd name="connsiteX4" fmla="*/ 95977 w 95976"/>
                  <a:gd name="connsiteY4" fmla="*/ 47797 h 135402"/>
                  <a:gd name="connsiteX5" fmla="*/ 47988 w 95976"/>
                  <a:gd name="connsiteY5" fmla="*/ 0 h 135402"/>
                  <a:gd name="connsiteX6" fmla="*/ 0 w 95976"/>
                  <a:gd name="connsiteY6" fmla="*/ 47797 h 135402"/>
                  <a:gd name="connsiteX7" fmla="*/ 77957 w 95976"/>
                  <a:gd name="connsiteY7" fmla="*/ 47669 h 135402"/>
                  <a:gd name="connsiteX8" fmla="*/ 77957 w 95976"/>
                  <a:gd name="connsiteY8" fmla="*/ 73484 h 135402"/>
                  <a:gd name="connsiteX9" fmla="*/ 71759 w 95976"/>
                  <a:gd name="connsiteY9" fmla="*/ 72206 h 135402"/>
                  <a:gd name="connsiteX10" fmla="*/ 56104 w 95976"/>
                  <a:gd name="connsiteY10" fmla="*/ 87861 h 135402"/>
                  <a:gd name="connsiteX11" fmla="*/ 71759 w 95976"/>
                  <a:gd name="connsiteY11" fmla="*/ 103517 h 135402"/>
                  <a:gd name="connsiteX12" fmla="*/ 73356 w 95976"/>
                  <a:gd name="connsiteY12" fmla="*/ 103389 h 135402"/>
                  <a:gd name="connsiteX13" fmla="*/ 47988 w 95976"/>
                  <a:gd name="connsiteY13" fmla="*/ 117383 h 135402"/>
                  <a:gd name="connsiteX14" fmla="*/ 18020 w 95976"/>
                  <a:gd name="connsiteY14" fmla="*/ 87542 h 135402"/>
                  <a:gd name="connsiteX15" fmla="*/ 18020 w 95976"/>
                  <a:gd name="connsiteY15" fmla="*/ 56167 h 135402"/>
                  <a:gd name="connsiteX16" fmla="*/ 28691 w 95976"/>
                  <a:gd name="connsiteY16" fmla="*/ 60385 h 135402"/>
                  <a:gd name="connsiteX17" fmla="*/ 44346 w 95976"/>
                  <a:gd name="connsiteY17" fmla="*/ 44729 h 135402"/>
                  <a:gd name="connsiteX18" fmla="*/ 28691 w 95976"/>
                  <a:gd name="connsiteY18" fmla="*/ 29074 h 135402"/>
                  <a:gd name="connsiteX19" fmla="*/ 24026 w 95976"/>
                  <a:gd name="connsiteY19" fmla="*/ 29841 h 135402"/>
                  <a:gd name="connsiteX20" fmla="*/ 48052 w 95976"/>
                  <a:gd name="connsiteY20" fmla="*/ 17764 h 135402"/>
                  <a:gd name="connsiteX21" fmla="*/ 78021 w 95976"/>
                  <a:gd name="connsiteY21" fmla="*/ 47605 h 135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5976" h="135402">
                    <a:moveTo>
                      <a:pt x="0" y="47797"/>
                    </a:moveTo>
                    <a:lnTo>
                      <a:pt x="0" y="87606"/>
                    </a:lnTo>
                    <a:cubicBezTo>
                      <a:pt x="0" y="114060"/>
                      <a:pt x="21470" y="135402"/>
                      <a:pt x="47988" y="135402"/>
                    </a:cubicBezTo>
                    <a:cubicBezTo>
                      <a:pt x="74507" y="135402"/>
                      <a:pt x="95977" y="113996"/>
                      <a:pt x="95977" y="87606"/>
                    </a:cubicBezTo>
                    <a:lnTo>
                      <a:pt x="95977" y="47797"/>
                    </a:lnTo>
                    <a:cubicBezTo>
                      <a:pt x="95977" y="21470"/>
                      <a:pt x="74507" y="0"/>
                      <a:pt x="47988" y="0"/>
                    </a:cubicBezTo>
                    <a:cubicBezTo>
                      <a:pt x="21470" y="0"/>
                      <a:pt x="0" y="21406"/>
                      <a:pt x="0" y="47797"/>
                    </a:cubicBezTo>
                    <a:close/>
                    <a:moveTo>
                      <a:pt x="77957" y="47669"/>
                    </a:moveTo>
                    <a:lnTo>
                      <a:pt x="77957" y="73484"/>
                    </a:lnTo>
                    <a:cubicBezTo>
                      <a:pt x="76040" y="72653"/>
                      <a:pt x="73995" y="72206"/>
                      <a:pt x="71759" y="72206"/>
                    </a:cubicBezTo>
                    <a:cubicBezTo>
                      <a:pt x="63132" y="72206"/>
                      <a:pt x="56104" y="79235"/>
                      <a:pt x="56104" y="87861"/>
                    </a:cubicBezTo>
                    <a:cubicBezTo>
                      <a:pt x="56104" y="96488"/>
                      <a:pt x="63132" y="103517"/>
                      <a:pt x="71759" y="103517"/>
                    </a:cubicBezTo>
                    <a:cubicBezTo>
                      <a:pt x="72270" y="103517"/>
                      <a:pt x="72781" y="103389"/>
                      <a:pt x="73356" y="103389"/>
                    </a:cubicBezTo>
                    <a:cubicBezTo>
                      <a:pt x="68053" y="111824"/>
                      <a:pt x="58659" y="117383"/>
                      <a:pt x="47988" y="117383"/>
                    </a:cubicBezTo>
                    <a:cubicBezTo>
                      <a:pt x="31438" y="117383"/>
                      <a:pt x="18020" y="104028"/>
                      <a:pt x="18020" y="87542"/>
                    </a:cubicBezTo>
                    <a:lnTo>
                      <a:pt x="18020" y="56167"/>
                    </a:lnTo>
                    <a:cubicBezTo>
                      <a:pt x="20831" y="58787"/>
                      <a:pt x="24537" y="60385"/>
                      <a:pt x="28691" y="60385"/>
                    </a:cubicBezTo>
                    <a:cubicBezTo>
                      <a:pt x="37317" y="60385"/>
                      <a:pt x="44346" y="53356"/>
                      <a:pt x="44346" y="44729"/>
                    </a:cubicBezTo>
                    <a:cubicBezTo>
                      <a:pt x="44346" y="36103"/>
                      <a:pt x="37317" y="29074"/>
                      <a:pt x="28691" y="29074"/>
                    </a:cubicBezTo>
                    <a:cubicBezTo>
                      <a:pt x="27029" y="29074"/>
                      <a:pt x="25496" y="29394"/>
                      <a:pt x="24026" y="29841"/>
                    </a:cubicBezTo>
                    <a:cubicBezTo>
                      <a:pt x="29521" y="22556"/>
                      <a:pt x="38212" y="17764"/>
                      <a:pt x="48052" y="17764"/>
                    </a:cubicBezTo>
                    <a:cubicBezTo>
                      <a:pt x="64602" y="17764"/>
                      <a:pt x="78021" y="31119"/>
                      <a:pt x="78021" y="47605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E852F7DD-0AFD-9A83-5DFB-A91B63F8A560}"/>
                  </a:ext>
                </a:extLst>
              </p:cNvPr>
              <p:cNvSpPr/>
              <p:nvPr/>
            </p:nvSpPr>
            <p:spPr>
              <a:xfrm>
                <a:off x="5103166" y="695715"/>
                <a:ext cx="203902" cy="89714"/>
              </a:xfrm>
              <a:custGeom>
                <a:avLst/>
                <a:gdLst>
                  <a:gd name="connsiteX0" fmla="*/ 141154 w 203902"/>
                  <a:gd name="connsiteY0" fmla="*/ 0 h 89714"/>
                  <a:gd name="connsiteX1" fmla="*/ 62685 w 203902"/>
                  <a:gd name="connsiteY1" fmla="*/ 0 h 89714"/>
                  <a:gd name="connsiteX2" fmla="*/ 0 w 203902"/>
                  <a:gd name="connsiteY2" fmla="*/ 62877 h 89714"/>
                  <a:gd name="connsiteX3" fmla="*/ 0 w 203902"/>
                  <a:gd name="connsiteY3" fmla="*/ 89714 h 89714"/>
                  <a:gd name="connsiteX4" fmla="*/ 17828 w 203902"/>
                  <a:gd name="connsiteY4" fmla="*/ 89714 h 89714"/>
                  <a:gd name="connsiteX5" fmla="*/ 17828 w 203902"/>
                  <a:gd name="connsiteY5" fmla="*/ 62877 h 89714"/>
                  <a:gd name="connsiteX6" fmla="*/ 27796 w 203902"/>
                  <a:gd name="connsiteY6" fmla="*/ 34697 h 89714"/>
                  <a:gd name="connsiteX7" fmla="*/ 40448 w 203902"/>
                  <a:gd name="connsiteY7" fmla="*/ 41151 h 89714"/>
                  <a:gd name="connsiteX8" fmla="*/ 56103 w 203902"/>
                  <a:gd name="connsiteY8" fmla="*/ 25496 h 89714"/>
                  <a:gd name="connsiteX9" fmla="*/ 54506 w 203902"/>
                  <a:gd name="connsiteY9" fmla="*/ 18722 h 89714"/>
                  <a:gd name="connsiteX10" fmla="*/ 62621 w 203902"/>
                  <a:gd name="connsiteY10" fmla="*/ 17956 h 89714"/>
                  <a:gd name="connsiteX11" fmla="*/ 112079 w 203902"/>
                  <a:gd name="connsiteY11" fmla="*/ 17956 h 89714"/>
                  <a:gd name="connsiteX12" fmla="*/ 110034 w 203902"/>
                  <a:gd name="connsiteY12" fmla="*/ 25560 h 89714"/>
                  <a:gd name="connsiteX13" fmla="*/ 125690 w 203902"/>
                  <a:gd name="connsiteY13" fmla="*/ 41215 h 89714"/>
                  <a:gd name="connsiteX14" fmla="*/ 141345 w 203902"/>
                  <a:gd name="connsiteY14" fmla="*/ 25560 h 89714"/>
                  <a:gd name="connsiteX15" fmla="*/ 139300 w 203902"/>
                  <a:gd name="connsiteY15" fmla="*/ 17956 h 89714"/>
                  <a:gd name="connsiteX16" fmla="*/ 141090 w 203902"/>
                  <a:gd name="connsiteY16" fmla="*/ 17956 h 89714"/>
                  <a:gd name="connsiteX17" fmla="*/ 185883 w 203902"/>
                  <a:gd name="connsiteY17" fmla="*/ 62877 h 89714"/>
                  <a:gd name="connsiteX18" fmla="*/ 185883 w 203902"/>
                  <a:gd name="connsiteY18" fmla="*/ 89714 h 89714"/>
                  <a:gd name="connsiteX19" fmla="*/ 203902 w 203902"/>
                  <a:gd name="connsiteY19" fmla="*/ 89714 h 89714"/>
                  <a:gd name="connsiteX20" fmla="*/ 203902 w 203902"/>
                  <a:gd name="connsiteY20" fmla="*/ 62877 h 89714"/>
                  <a:gd name="connsiteX21" fmla="*/ 141217 w 203902"/>
                  <a:gd name="connsiteY21" fmla="*/ 0 h 89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3902" h="89714">
                    <a:moveTo>
                      <a:pt x="141154" y="0"/>
                    </a:moveTo>
                    <a:lnTo>
                      <a:pt x="62685" y="0"/>
                    </a:lnTo>
                    <a:cubicBezTo>
                      <a:pt x="28052" y="0"/>
                      <a:pt x="0" y="28180"/>
                      <a:pt x="0" y="62877"/>
                    </a:cubicBezTo>
                    <a:lnTo>
                      <a:pt x="0" y="89714"/>
                    </a:lnTo>
                    <a:lnTo>
                      <a:pt x="17828" y="89714"/>
                    </a:lnTo>
                    <a:lnTo>
                      <a:pt x="17828" y="62877"/>
                    </a:lnTo>
                    <a:cubicBezTo>
                      <a:pt x="17828" y="52206"/>
                      <a:pt x="21598" y="42429"/>
                      <a:pt x="27796" y="34697"/>
                    </a:cubicBezTo>
                    <a:cubicBezTo>
                      <a:pt x="30608" y="38595"/>
                      <a:pt x="35209" y="41151"/>
                      <a:pt x="40448" y="41151"/>
                    </a:cubicBezTo>
                    <a:cubicBezTo>
                      <a:pt x="49075" y="41151"/>
                      <a:pt x="56103" y="34122"/>
                      <a:pt x="56103" y="25496"/>
                    </a:cubicBezTo>
                    <a:cubicBezTo>
                      <a:pt x="56103" y="23068"/>
                      <a:pt x="55464" y="20767"/>
                      <a:pt x="54506" y="18722"/>
                    </a:cubicBezTo>
                    <a:cubicBezTo>
                      <a:pt x="57126" y="18211"/>
                      <a:pt x="59874" y="17956"/>
                      <a:pt x="62621" y="17956"/>
                    </a:cubicBezTo>
                    <a:lnTo>
                      <a:pt x="112079" y="17956"/>
                    </a:lnTo>
                    <a:cubicBezTo>
                      <a:pt x="110801" y="20192"/>
                      <a:pt x="110034" y="22748"/>
                      <a:pt x="110034" y="25560"/>
                    </a:cubicBezTo>
                    <a:cubicBezTo>
                      <a:pt x="110034" y="34186"/>
                      <a:pt x="117063" y="41215"/>
                      <a:pt x="125690" y="41215"/>
                    </a:cubicBezTo>
                    <a:cubicBezTo>
                      <a:pt x="134316" y="41215"/>
                      <a:pt x="141345" y="34186"/>
                      <a:pt x="141345" y="25560"/>
                    </a:cubicBezTo>
                    <a:cubicBezTo>
                      <a:pt x="141345" y="22812"/>
                      <a:pt x="140578" y="20256"/>
                      <a:pt x="139300" y="17956"/>
                    </a:cubicBezTo>
                    <a:lnTo>
                      <a:pt x="141090" y="17956"/>
                    </a:lnTo>
                    <a:cubicBezTo>
                      <a:pt x="165755" y="17956"/>
                      <a:pt x="185883" y="38148"/>
                      <a:pt x="185883" y="62877"/>
                    </a:cubicBezTo>
                    <a:lnTo>
                      <a:pt x="185883" y="89714"/>
                    </a:lnTo>
                    <a:lnTo>
                      <a:pt x="203902" y="89714"/>
                    </a:lnTo>
                    <a:lnTo>
                      <a:pt x="203902" y="62877"/>
                    </a:lnTo>
                    <a:cubicBezTo>
                      <a:pt x="203902" y="28116"/>
                      <a:pt x="175851" y="0"/>
                      <a:pt x="1412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75930856-5A65-3F08-D699-65B9E373A8D0}"/>
                  </a:ext>
                </a:extLst>
              </p:cNvPr>
              <p:cNvSpPr/>
              <p:nvPr/>
            </p:nvSpPr>
            <p:spPr>
              <a:xfrm>
                <a:off x="5170005" y="748752"/>
                <a:ext cx="31310" cy="31310"/>
              </a:xfrm>
              <a:custGeom>
                <a:avLst/>
                <a:gdLst>
                  <a:gd name="connsiteX0" fmla="*/ 15655 w 31310"/>
                  <a:gd name="connsiteY0" fmla="*/ 0 h 31310"/>
                  <a:gd name="connsiteX1" fmla="*/ 0 w 31310"/>
                  <a:gd name="connsiteY1" fmla="*/ 15655 h 31310"/>
                  <a:gd name="connsiteX2" fmla="*/ 15655 w 31310"/>
                  <a:gd name="connsiteY2" fmla="*/ 31311 h 31310"/>
                  <a:gd name="connsiteX3" fmla="*/ 31310 w 31310"/>
                  <a:gd name="connsiteY3" fmla="*/ 15655 h 31310"/>
                  <a:gd name="connsiteX4" fmla="*/ 15655 w 31310"/>
                  <a:gd name="connsiteY4" fmla="*/ 0 h 31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310" h="31310">
                    <a:moveTo>
                      <a:pt x="15655" y="0"/>
                    </a:moveTo>
                    <a:cubicBezTo>
                      <a:pt x="7029" y="0"/>
                      <a:pt x="0" y="7029"/>
                      <a:pt x="0" y="15655"/>
                    </a:cubicBezTo>
                    <a:cubicBezTo>
                      <a:pt x="0" y="24282"/>
                      <a:pt x="7029" y="31311"/>
                      <a:pt x="15655" y="31311"/>
                    </a:cubicBezTo>
                    <a:cubicBezTo>
                      <a:pt x="24282" y="31311"/>
                      <a:pt x="31310" y="24282"/>
                      <a:pt x="31310" y="15655"/>
                    </a:cubicBezTo>
                    <a:cubicBezTo>
                      <a:pt x="31310" y="7029"/>
                      <a:pt x="24282" y="0"/>
                      <a:pt x="1565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49C4CA24-7725-D4A1-FF9B-CDDC3945EC47}"/>
                  </a:ext>
                </a:extLst>
              </p:cNvPr>
              <p:cNvSpPr/>
              <p:nvPr/>
            </p:nvSpPr>
            <p:spPr>
              <a:xfrm>
                <a:off x="5256333" y="749838"/>
                <a:ext cx="31310" cy="31310"/>
              </a:xfrm>
              <a:custGeom>
                <a:avLst/>
                <a:gdLst>
                  <a:gd name="connsiteX0" fmla="*/ 15655 w 31310"/>
                  <a:gd name="connsiteY0" fmla="*/ 0 h 31310"/>
                  <a:gd name="connsiteX1" fmla="*/ 0 w 31310"/>
                  <a:gd name="connsiteY1" fmla="*/ 15655 h 31310"/>
                  <a:gd name="connsiteX2" fmla="*/ 15655 w 31310"/>
                  <a:gd name="connsiteY2" fmla="*/ 31311 h 31310"/>
                  <a:gd name="connsiteX3" fmla="*/ 31311 w 31310"/>
                  <a:gd name="connsiteY3" fmla="*/ 15655 h 31310"/>
                  <a:gd name="connsiteX4" fmla="*/ 15655 w 31310"/>
                  <a:gd name="connsiteY4" fmla="*/ 0 h 31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310" h="31310">
                    <a:moveTo>
                      <a:pt x="15655" y="0"/>
                    </a:moveTo>
                    <a:cubicBezTo>
                      <a:pt x="7029" y="0"/>
                      <a:pt x="0" y="7029"/>
                      <a:pt x="0" y="15655"/>
                    </a:cubicBezTo>
                    <a:cubicBezTo>
                      <a:pt x="0" y="24282"/>
                      <a:pt x="7029" y="31311"/>
                      <a:pt x="15655" y="31311"/>
                    </a:cubicBezTo>
                    <a:cubicBezTo>
                      <a:pt x="24282" y="31311"/>
                      <a:pt x="31311" y="24282"/>
                      <a:pt x="31311" y="15655"/>
                    </a:cubicBezTo>
                    <a:cubicBezTo>
                      <a:pt x="31311" y="7029"/>
                      <a:pt x="24282" y="0"/>
                      <a:pt x="1565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82B007B7-F983-2D36-575A-45CE054BE760}"/>
                  </a:ext>
                </a:extLst>
              </p:cNvPr>
              <p:cNvSpPr/>
              <p:nvPr/>
            </p:nvSpPr>
            <p:spPr>
              <a:xfrm>
                <a:off x="5398764" y="303311"/>
                <a:ext cx="95848" cy="135402"/>
              </a:xfrm>
              <a:custGeom>
                <a:avLst/>
                <a:gdLst>
                  <a:gd name="connsiteX0" fmla="*/ 47924 w 95848"/>
                  <a:gd name="connsiteY0" fmla="*/ 135402 h 135402"/>
                  <a:gd name="connsiteX1" fmla="*/ 95849 w 95848"/>
                  <a:gd name="connsiteY1" fmla="*/ 87606 h 135402"/>
                  <a:gd name="connsiteX2" fmla="*/ 95849 w 95848"/>
                  <a:gd name="connsiteY2" fmla="*/ 47797 h 135402"/>
                  <a:gd name="connsiteX3" fmla="*/ 47924 w 95848"/>
                  <a:gd name="connsiteY3" fmla="*/ 0 h 135402"/>
                  <a:gd name="connsiteX4" fmla="*/ 0 w 95848"/>
                  <a:gd name="connsiteY4" fmla="*/ 47797 h 135402"/>
                  <a:gd name="connsiteX5" fmla="*/ 0 w 95848"/>
                  <a:gd name="connsiteY5" fmla="*/ 87606 h 135402"/>
                  <a:gd name="connsiteX6" fmla="*/ 47924 w 95848"/>
                  <a:gd name="connsiteY6" fmla="*/ 135402 h 135402"/>
                  <a:gd name="connsiteX7" fmla="*/ 77893 w 95848"/>
                  <a:gd name="connsiteY7" fmla="*/ 55017 h 135402"/>
                  <a:gd name="connsiteX8" fmla="*/ 77893 w 95848"/>
                  <a:gd name="connsiteY8" fmla="*/ 79810 h 135402"/>
                  <a:gd name="connsiteX9" fmla="*/ 17956 w 95848"/>
                  <a:gd name="connsiteY9" fmla="*/ 79810 h 135402"/>
                  <a:gd name="connsiteX10" fmla="*/ 17956 w 95848"/>
                  <a:gd name="connsiteY10" fmla="*/ 55017 h 135402"/>
                  <a:gd name="connsiteX11" fmla="*/ 77893 w 95848"/>
                  <a:gd name="connsiteY11" fmla="*/ 55017 h 135402"/>
                  <a:gd name="connsiteX12" fmla="*/ 47924 w 95848"/>
                  <a:gd name="connsiteY12" fmla="*/ 117511 h 135402"/>
                  <a:gd name="connsiteX13" fmla="*/ 18275 w 95848"/>
                  <a:gd name="connsiteY13" fmla="*/ 91695 h 135402"/>
                  <a:gd name="connsiteX14" fmla="*/ 77574 w 95848"/>
                  <a:gd name="connsiteY14" fmla="*/ 91695 h 135402"/>
                  <a:gd name="connsiteX15" fmla="*/ 47924 w 95848"/>
                  <a:gd name="connsiteY15" fmla="*/ 117511 h 135402"/>
                  <a:gd name="connsiteX16" fmla="*/ 47924 w 95848"/>
                  <a:gd name="connsiteY16" fmla="*/ 17956 h 135402"/>
                  <a:gd name="connsiteX17" fmla="*/ 77510 w 95848"/>
                  <a:gd name="connsiteY17" fmla="*/ 43132 h 135402"/>
                  <a:gd name="connsiteX18" fmla="*/ 18403 w 95848"/>
                  <a:gd name="connsiteY18" fmla="*/ 43132 h 135402"/>
                  <a:gd name="connsiteX19" fmla="*/ 47988 w 95848"/>
                  <a:gd name="connsiteY19" fmla="*/ 17956 h 135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848" h="135402">
                    <a:moveTo>
                      <a:pt x="47924" y="135402"/>
                    </a:moveTo>
                    <a:cubicBezTo>
                      <a:pt x="74442" y="135402"/>
                      <a:pt x="95849" y="113996"/>
                      <a:pt x="95849" y="87606"/>
                    </a:cubicBezTo>
                    <a:lnTo>
                      <a:pt x="95849" y="47797"/>
                    </a:lnTo>
                    <a:cubicBezTo>
                      <a:pt x="95849" y="21470"/>
                      <a:pt x="74379" y="0"/>
                      <a:pt x="47924" y="0"/>
                    </a:cubicBezTo>
                    <a:cubicBezTo>
                      <a:pt x="21470" y="0"/>
                      <a:pt x="0" y="21406"/>
                      <a:pt x="0" y="47797"/>
                    </a:cubicBezTo>
                    <a:lnTo>
                      <a:pt x="0" y="87606"/>
                    </a:lnTo>
                    <a:cubicBezTo>
                      <a:pt x="0" y="114060"/>
                      <a:pt x="21470" y="135402"/>
                      <a:pt x="47924" y="135402"/>
                    </a:cubicBezTo>
                    <a:close/>
                    <a:moveTo>
                      <a:pt x="77893" y="55017"/>
                    </a:moveTo>
                    <a:lnTo>
                      <a:pt x="77893" y="79810"/>
                    </a:lnTo>
                    <a:lnTo>
                      <a:pt x="17956" y="79810"/>
                    </a:lnTo>
                    <a:lnTo>
                      <a:pt x="17956" y="55017"/>
                    </a:lnTo>
                    <a:lnTo>
                      <a:pt x="77893" y="55017"/>
                    </a:lnTo>
                    <a:close/>
                    <a:moveTo>
                      <a:pt x="47924" y="117511"/>
                    </a:moveTo>
                    <a:cubicBezTo>
                      <a:pt x="32780" y="117511"/>
                      <a:pt x="20256" y="106264"/>
                      <a:pt x="18275" y="91695"/>
                    </a:cubicBezTo>
                    <a:lnTo>
                      <a:pt x="77574" y="91695"/>
                    </a:lnTo>
                    <a:cubicBezTo>
                      <a:pt x="75593" y="106264"/>
                      <a:pt x="63069" y="117511"/>
                      <a:pt x="47924" y="117511"/>
                    </a:cubicBezTo>
                    <a:close/>
                    <a:moveTo>
                      <a:pt x="47924" y="17956"/>
                    </a:moveTo>
                    <a:cubicBezTo>
                      <a:pt x="62877" y="17956"/>
                      <a:pt x="75209" y="28882"/>
                      <a:pt x="77510" y="43132"/>
                    </a:cubicBezTo>
                    <a:lnTo>
                      <a:pt x="18403" y="43132"/>
                    </a:lnTo>
                    <a:cubicBezTo>
                      <a:pt x="20639" y="28882"/>
                      <a:pt x="33036" y="17956"/>
                      <a:pt x="47988" y="179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05498060-9517-9A68-8435-9F46DB36D627}"/>
                  </a:ext>
                </a:extLst>
              </p:cNvPr>
              <p:cNvSpPr/>
              <p:nvPr/>
            </p:nvSpPr>
            <p:spPr>
              <a:xfrm>
                <a:off x="5344961" y="450918"/>
                <a:ext cx="203646" cy="89714"/>
              </a:xfrm>
              <a:custGeom>
                <a:avLst/>
                <a:gdLst>
                  <a:gd name="connsiteX0" fmla="*/ 17764 w 203646"/>
                  <a:gd name="connsiteY0" fmla="*/ 62877 h 89714"/>
                  <a:gd name="connsiteX1" fmla="*/ 19170 w 203646"/>
                  <a:gd name="connsiteY1" fmla="*/ 51950 h 89714"/>
                  <a:gd name="connsiteX2" fmla="*/ 184221 w 203646"/>
                  <a:gd name="connsiteY2" fmla="*/ 51950 h 89714"/>
                  <a:gd name="connsiteX3" fmla="*/ 185627 w 203646"/>
                  <a:gd name="connsiteY3" fmla="*/ 62877 h 89714"/>
                  <a:gd name="connsiteX4" fmla="*/ 185627 w 203646"/>
                  <a:gd name="connsiteY4" fmla="*/ 89714 h 89714"/>
                  <a:gd name="connsiteX5" fmla="*/ 203647 w 203646"/>
                  <a:gd name="connsiteY5" fmla="*/ 89714 h 89714"/>
                  <a:gd name="connsiteX6" fmla="*/ 203647 w 203646"/>
                  <a:gd name="connsiteY6" fmla="*/ 62877 h 89714"/>
                  <a:gd name="connsiteX7" fmla="*/ 141025 w 203646"/>
                  <a:gd name="connsiteY7" fmla="*/ 0 h 89714"/>
                  <a:gd name="connsiteX8" fmla="*/ 62621 w 203646"/>
                  <a:gd name="connsiteY8" fmla="*/ 0 h 89714"/>
                  <a:gd name="connsiteX9" fmla="*/ 0 w 203646"/>
                  <a:gd name="connsiteY9" fmla="*/ 62877 h 89714"/>
                  <a:gd name="connsiteX10" fmla="*/ 0 w 203646"/>
                  <a:gd name="connsiteY10" fmla="*/ 89714 h 89714"/>
                  <a:gd name="connsiteX11" fmla="*/ 17828 w 203646"/>
                  <a:gd name="connsiteY11" fmla="*/ 89714 h 89714"/>
                  <a:gd name="connsiteX12" fmla="*/ 17828 w 203646"/>
                  <a:gd name="connsiteY12" fmla="*/ 62877 h 89714"/>
                  <a:gd name="connsiteX13" fmla="*/ 62557 w 203646"/>
                  <a:gd name="connsiteY13" fmla="*/ 17956 h 89714"/>
                  <a:gd name="connsiteX14" fmla="*/ 140962 w 203646"/>
                  <a:gd name="connsiteY14" fmla="*/ 17956 h 89714"/>
                  <a:gd name="connsiteX15" fmla="*/ 178790 w 203646"/>
                  <a:gd name="connsiteY15" fmla="*/ 39042 h 89714"/>
                  <a:gd name="connsiteX16" fmla="*/ 24793 w 203646"/>
                  <a:gd name="connsiteY16" fmla="*/ 39042 h 89714"/>
                  <a:gd name="connsiteX17" fmla="*/ 62621 w 203646"/>
                  <a:gd name="connsiteY17" fmla="*/ 17956 h 89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3646" h="89714">
                    <a:moveTo>
                      <a:pt x="17764" y="62877"/>
                    </a:moveTo>
                    <a:cubicBezTo>
                      <a:pt x="17764" y="59107"/>
                      <a:pt x="18275" y="55464"/>
                      <a:pt x="19170" y="51950"/>
                    </a:cubicBezTo>
                    <a:lnTo>
                      <a:pt x="184221" y="51950"/>
                    </a:lnTo>
                    <a:cubicBezTo>
                      <a:pt x="185116" y="55464"/>
                      <a:pt x="185627" y="59107"/>
                      <a:pt x="185627" y="62877"/>
                    </a:cubicBezTo>
                    <a:lnTo>
                      <a:pt x="185627" y="89714"/>
                    </a:lnTo>
                    <a:lnTo>
                      <a:pt x="203647" y="89714"/>
                    </a:lnTo>
                    <a:lnTo>
                      <a:pt x="203647" y="62877"/>
                    </a:lnTo>
                    <a:cubicBezTo>
                      <a:pt x="203647" y="28116"/>
                      <a:pt x="175595" y="0"/>
                      <a:pt x="141025" y="0"/>
                    </a:cubicBezTo>
                    <a:lnTo>
                      <a:pt x="62621" y="0"/>
                    </a:lnTo>
                    <a:cubicBezTo>
                      <a:pt x="27988" y="0"/>
                      <a:pt x="0" y="28180"/>
                      <a:pt x="0" y="62877"/>
                    </a:cubicBezTo>
                    <a:lnTo>
                      <a:pt x="0" y="89714"/>
                    </a:lnTo>
                    <a:lnTo>
                      <a:pt x="17828" y="89714"/>
                    </a:lnTo>
                    <a:lnTo>
                      <a:pt x="17828" y="62877"/>
                    </a:lnTo>
                    <a:close/>
                    <a:moveTo>
                      <a:pt x="62557" y="17956"/>
                    </a:moveTo>
                    <a:lnTo>
                      <a:pt x="140962" y="17956"/>
                    </a:lnTo>
                    <a:cubicBezTo>
                      <a:pt x="156873" y="17956"/>
                      <a:pt x="170867" y="26390"/>
                      <a:pt x="178790" y="39042"/>
                    </a:cubicBezTo>
                    <a:lnTo>
                      <a:pt x="24793" y="39042"/>
                    </a:lnTo>
                    <a:cubicBezTo>
                      <a:pt x="32716" y="26390"/>
                      <a:pt x="46710" y="17956"/>
                      <a:pt x="62621" y="179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DA4A6C5F-2A9E-2E8A-E943-F51A1790310D}"/>
                  </a:ext>
                </a:extLst>
              </p:cNvPr>
              <p:cNvSpPr/>
              <p:nvPr/>
            </p:nvSpPr>
            <p:spPr>
              <a:xfrm>
                <a:off x="5344833" y="695715"/>
                <a:ext cx="203774" cy="89714"/>
              </a:xfrm>
              <a:custGeom>
                <a:avLst/>
                <a:gdLst>
                  <a:gd name="connsiteX0" fmla="*/ 141090 w 203774"/>
                  <a:gd name="connsiteY0" fmla="*/ 0 h 89714"/>
                  <a:gd name="connsiteX1" fmla="*/ 62685 w 203774"/>
                  <a:gd name="connsiteY1" fmla="*/ 0 h 89714"/>
                  <a:gd name="connsiteX2" fmla="*/ 0 w 203774"/>
                  <a:gd name="connsiteY2" fmla="*/ 62877 h 89714"/>
                  <a:gd name="connsiteX3" fmla="*/ 0 w 203774"/>
                  <a:gd name="connsiteY3" fmla="*/ 89714 h 89714"/>
                  <a:gd name="connsiteX4" fmla="*/ 203775 w 203774"/>
                  <a:gd name="connsiteY4" fmla="*/ 89714 h 89714"/>
                  <a:gd name="connsiteX5" fmla="*/ 203775 w 203774"/>
                  <a:gd name="connsiteY5" fmla="*/ 62877 h 89714"/>
                  <a:gd name="connsiteX6" fmla="*/ 141090 w 203774"/>
                  <a:gd name="connsiteY6" fmla="*/ 0 h 89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774" h="89714">
                    <a:moveTo>
                      <a:pt x="141090" y="0"/>
                    </a:moveTo>
                    <a:lnTo>
                      <a:pt x="62685" y="0"/>
                    </a:lnTo>
                    <a:cubicBezTo>
                      <a:pt x="28052" y="0"/>
                      <a:pt x="0" y="28180"/>
                      <a:pt x="0" y="62877"/>
                    </a:cubicBezTo>
                    <a:lnTo>
                      <a:pt x="0" y="89714"/>
                    </a:lnTo>
                    <a:lnTo>
                      <a:pt x="203775" y="89714"/>
                    </a:lnTo>
                    <a:lnTo>
                      <a:pt x="203775" y="62877"/>
                    </a:lnTo>
                    <a:cubicBezTo>
                      <a:pt x="203775" y="28116"/>
                      <a:pt x="175723" y="0"/>
                      <a:pt x="14109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72B5C7ED-0950-5380-0A5E-41347461E99A}"/>
                  </a:ext>
                </a:extLst>
              </p:cNvPr>
              <p:cNvSpPr/>
              <p:nvPr/>
            </p:nvSpPr>
            <p:spPr>
              <a:xfrm>
                <a:off x="5398700" y="548172"/>
                <a:ext cx="95976" cy="135402"/>
              </a:xfrm>
              <a:custGeom>
                <a:avLst/>
                <a:gdLst>
                  <a:gd name="connsiteX0" fmla="*/ 0 w 95976"/>
                  <a:gd name="connsiteY0" fmla="*/ 47797 h 135402"/>
                  <a:gd name="connsiteX1" fmla="*/ 0 w 95976"/>
                  <a:gd name="connsiteY1" fmla="*/ 87606 h 135402"/>
                  <a:gd name="connsiteX2" fmla="*/ 47988 w 95976"/>
                  <a:gd name="connsiteY2" fmla="*/ 135402 h 135402"/>
                  <a:gd name="connsiteX3" fmla="*/ 95977 w 95976"/>
                  <a:gd name="connsiteY3" fmla="*/ 87606 h 135402"/>
                  <a:gd name="connsiteX4" fmla="*/ 95977 w 95976"/>
                  <a:gd name="connsiteY4" fmla="*/ 47797 h 135402"/>
                  <a:gd name="connsiteX5" fmla="*/ 47988 w 95976"/>
                  <a:gd name="connsiteY5" fmla="*/ 0 h 135402"/>
                  <a:gd name="connsiteX6" fmla="*/ 0 w 95976"/>
                  <a:gd name="connsiteY6" fmla="*/ 47797 h 135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976" h="135402">
                    <a:moveTo>
                      <a:pt x="0" y="47797"/>
                    </a:moveTo>
                    <a:lnTo>
                      <a:pt x="0" y="87606"/>
                    </a:lnTo>
                    <a:cubicBezTo>
                      <a:pt x="0" y="114060"/>
                      <a:pt x="21470" y="135402"/>
                      <a:pt x="47988" y="135402"/>
                    </a:cubicBezTo>
                    <a:cubicBezTo>
                      <a:pt x="74506" y="135402"/>
                      <a:pt x="95977" y="113996"/>
                      <a:pt x="95977" y="87606"/>
                    </a:cubicBezTo>
                    <a:lnTo>
                      <a:pt x="95977" y="47797"/>
                    </a:lnTo>
                    <a:cubicBezTo>
                      <a:pt x="95977" y="21470"/>
                      <a:pt x="74506" y="0"/>
                      <a:pt x="47988" y="0"/>
                    </a:cubicBezTo>
                    <a:cubicBezTo>
                      <a:pt x="21470" y="0"/>
                      <a:pt x="0" y="21406"/>
                      <a:pt x="0" y="477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837B3F57-3EAC-37FB-28CE-6B9007DBF341}"/>
                  </a:ext>
                </a:extLst>
              </p:cNvPr>
              <p:cNvSpPr/>
              <p:nvPr/>
            </p:nvSpPr>
            <p:spPr>
              <a:xfrm>
                <a:off x="5146234" y="305419"/>
                <a:ext cx="95976" cy="135402"/>
              </a:xfrm>
              <a:custGeom>
                <a:avLst/>
                <a:gdLst>
                  <a:gd name="connsiteX0" fmla="*/ 47988 w 95976"/>
                  <a:gd name="connsiteY0" fmla="*/ 135402 h 135402"/>
                  <a:gd name="connsiteX1" fmla="*/ 95977 w 95976"/>
                  <a:gd name="connsiteY1" fmla="*/ 87606 h 135402"/>
                  <a:gd name="connsiteX2" fmla="*/ 95977 w 95976"/>
                  <a:gd name="connsiteY2" fmla="*/ 47797 h 135402"/>
                  <a:gd name="connsiteX3" fmla="*/ 47988 w 95976"/>
                  <a:gd name="connsiteY3" fmla="*/ 0 h 135402"/>
                  <a:gd name="connsiteX4" fmla="*/ 0 w 95976"/>
                  <a:gd name="connsiteY4" fmla="*/ 47797 h 135402"/>
                  <a:gd name="connsiteX5" fmla="*/ 0 w 95976"/>
                  <a:gd name="connsiteY5" fmla="*/ 87606 h 135402"/>
                  <a:gd name="connsiteX6" fmla="*/ 47988 w 95976"/>
                  <a:gd name="connsiteY6" fmla="*/ 135402 h 135402"/>
                  <a:gd name="connsiteX7" fmla="*/ 18020 w 95976"/>
                  <a:gd name="connsiteY7" fmla="*/ 47860 h 135402"/>
                  <a:gd name="connsiteX8" fmla="*/ 47988 w 95976"/>
                  <a:gd name="connsiteY8" fmla="*/ 18020 h 135402"/>
                  <a:gd name="connsiteX9" fmla="*/ 77957 w 95976"/>
                  <a:gd name="connsiteY9" fmla="*/ 47860 h 135402"/>
                  <a:gd name="connsiteX10" fmla="*/ 77957 w 95976"/>
                  <a:gd name="connsiteY10" fmla="*/ 87670 h 135402"/>
                  <a:gd name="connsiteX11" fmla="*/ 47988 w 95976"/>
                  <a:gd name="connsiteY11" fmla="*/ 117511 h 135402"/>
                  <a:gd name="connsiteX12" fmla="*/ 18020 w 95976"/>
                  <a:gd name="connsiteY12" fmla="*/ 87670 h 135402"/>
                  <a:gd name="connsiteX13" fmla="*/ 18020 w 95976"/>
                  <a:gd name="connsiteY13" fmla="*/ 47860 h 135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976" h="135402">
                    <a:moveTo>
                      <a:pt x="47988" y="135402"/>
                    </a:moveTo>
                    <a:cubicBezTo>
                      <a:pt x="74507" y="135402"/>
                      <a:pt x="95977" y="114060"/>
                      <a:pt x="95977" y="87606"/>
                    </a:cubicBezTo>
                    <a:lnTo>
                      <a:pt x="95977" y="47797"/>
                    </a:lnTo>
                    <a:cubicBezTo>
                      <a:pt x="95977" y="21470"/>
                      <a:pt x="74507" y="0"/>
                      <a:pt x="47988" y="0"/>
                    </a:cubicBezTo>
                    <a:cubicBezTo>
                      <a:pt x="21470" y="0"/>
                      <a:pt x="0" y="21342"/>
                      <a:pt x="0" y="47797"/>
                    </a:cubicBezTo>
                    <a:lnTo>
                      <a:pt x="0" y="87606"/>
                    </a:lnTo>
                    <a:cubicBezTo>
                      <a:pt x="0" y="113996"/>
                      <a:pt x="21470" y="135402"/>
                      <a:pt x="47988" y="135402"/>
                    </a:cubicBezTo>
                    <a:close/>
                    <a:moveTo>
                      <a:pt x="18020" y="47860"/>
                    </a:moveTo>
                    <a:cubicBezTo>
                      <a:pt x="18020" y="31374"/>
                      <a:pt x="31438" y="18020"/>
                      <a:pt x="47988" y="18020"/>
                    </a:cubicBezTo>
                    <a:cubicBezTo>
                      <a:pt x="64538" y="18020"/>
                      <a:pt x="77957" y="31374"/>
                      <a:pt x="77957" y="47860"/>
                    </a:cubicBezTo>
                    <a:lnTo>
                      <a:pt x="77957" y="87670"/>
                    </a:lnTo>
                    <a:cubicBezTo>
                      <a:pt x="77957" y="104156"/>
                      <a:pt x="64538" y="117511"/>
                      <a:pt x="47988" y="117511"/>
                    </a:cubicBezTo>
                    <a:cubicBezTo>
                      <a:pt x="31438" y="117511"/>
                      <a:pt x="18020" y="104156"/>
                      <a:pt x="18020" y="87670"/>
                    </a:cubicBezTo>
                    <a:lnTo>
                      <a:pt x="18020" y="47860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5BD968B7-3A98-529D-9BA4-96DE276DC66D}"/>
                  </a:ext>
                </a:extLst>
              </p:cNvPr>
              <p:cNvSpPr/>
              <p:nvPr/>
            </p:nvSpPr>
            <p:spPr>
              <a:xfrm>
                <a:off x="5092431" y="453154"/>
                <a:ext cx="203838" cy="89650"/>
              </a:xfrm>
              <a:custGeom>
                <a:avLst/>
                <a:gdLst>
                  <a:gd name="connsiteX0" fmla="*/ 17892 w 203838"/>
                  <a:gd name="connsiteY0" fmla="*/ 62813 h 89650"/>
                  <a:gd name="connsiteX1" fmla="*/ 62685 w 203838"/>
                  <a:gd name="connsiteY1" fmla="*/ 17892 h 89650"/>
                  <a:gd name="connsiteX2" fmla="*/ 141026 w 203838"/>
                  <a:gd name="connsiteY2" fmla="*/ 17892 h 89650"/>
                  <a:gd name="connsiteX3" fmla="*/ 185819 w 203838"/>
                  <a:gd name="connsiteY3" fmla="*/ 62813 h 89650"/>
                  <a:gd name="connsiteX4" fmla="*/ 185819 w 203838"/>
                  <a:gd name="connsiteY4" fmla="*/ 89651 h 89650"/>
                  <a:gd name="connsiteX5" fmla="*/ 203838 w 203838"/>
                  <a:gd name="connsiteY5" fmla="*/ 89651 h 89650"/>
                  <a:gd name="connsiteX6" fmla="*/ 203838 w 203838"/>
                  <a:gd name="connsiteY6" fmla="*/ 62813 h 89650"/>
                  <a:gd name="connsiteX7" fmla="*/ 141153 w 203838"/>
                  <a:gd name="connsiteY7" fmla="*/ 0 h 89650"/>
                  <a:gd name="connsiteX8" fmla="*/ 62685 w 203838"/>
                  <a:gd name="connsiteY8" fmla="*/ 0 h 89650"/>
                  <a:gd name="connsiteX9" fmla="*/ 0 w 203838"/>
                  <a:gd name="connsiteY9" fmla="*/ 62813 h 89650"/>
                  <a:gd name="connsiteX10" fmla="*/ 0 w 203838"/>
                  <a:gd name="connsiteY10" fmla="*/ 89651 h 89650"/>
                  <a:gd name="connsiteX11" fmla="*/ 17892 w 203838"/>
                  <a:gd name="connsiteY11" fmla="*/ 89651 h 89650"/>
                  <a:gd name="connsiteX12" fmla="*/ 17892 w 203838"/>
                  <a:gd name="connsiteY12" fmla="*/ 62813 h 8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838" h="89650">
                    <a:moveTo>
                      <a:pt x="17892" y="62813"/>
                    </a:moveTo>
                    <a:cubicBezTo>
                      <a:pt x="17892" y="38084"/>
                      <a:pt x="37956" y="17892"/>
                      <a:pt x="62685" y="17892"/>
                    </a:cubicBezTo>
                    <a:lnTo>
                      <a:pt x="141026" y="17892"/>
                    </a:lnTo>
                    <a:cubicBezTo>
                      <a:pt x="165691" y="17892"/>
                      <a:pt x="185819" y="38084"/>
                      <a:pt x="185819" y="62813"/>
                    </a:cubicBezTo>
                    <a:lnTo>
                      <a:pt x="185819" y="89651"/>
                    </a:lnTo>
                    <a:lnTo>
                      <a:pt x="203838" y="89651"/>
                    </a:lnTo>
                    <a:lnTo>
                      <a:pt x="203838" y="62813"/>
                    </a:lnTo>
                    <a:cubicBezTo>
                      <a:pt x="203838" y="28052"/>
                      <a:pt x="175787" y="0"/>
                      <a:pt x="141153" y="0"/>
                    </a:cubicBezTo>
                    <a:lnTo>
                      <a:pt x="62685" y="0"/>
                    </a:lnTo>
                    <a:cubicBezTo>
                      <a:pt x="28052" y="0"/>
                      <a:pt x="0" y="28180"/>
                      <a:pt x="0" y="62813"/>
                    </a:cubicBezTo>
                    <a:lnTo>
                      <a:pt x="0" y="89651"/>
                    </a:lnTo>
                    <a:lnTo>
                      <a:pt x="17892" y="89651"/>
                    </a:lnTo>
                    <a:lnTo>
                      <a:pt x="17892" y="62813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3" name="Grafik 5">
              <a:extLst>
                <a:ext uri="{FF2B5EF4-FFF2-40B4-BE49-F238E27FC236}">
                  <a16:creationId xmlns:a16="http://schemas.microsoft.com/office/drawing/2014/main" id="{D288773D-8E7C-404D-C963-C1ABB875B5A7}"/>
                </a:ext>
              </a:extLst>
            </p:cNvPr>
            <p:cNvGrpSpPr/>
            <p:nvPr/>
          </p:nvGrpSpPr>
          <p:grpSpPr>
            <a:xfrm>
              <a:off x="2876102" y="251936"/>
              <a:ext cx="314048" cy="584805"/>
              <a:chOff x="2876102" y="251936"/>
              <a:chExt cx="314048" cy="584805"/>
            </a:xfrm>
            <a:solidFill>
              <a:srgbClr val="FFFFFF"/>
            </a:solidFill>
          </p:grpSpPr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882A57D3-C578-6154-D97A-A7AEA88D6A66}"/>
                  </a:ext>
                </a:extLst>
              </p:cNvPr>
              <p:cNvSpPr/>
              <p:nvPr/>
            </p:nvSpPr>
            <p:spPr>
              <a:xfrm>
                <a:off x="3052262" y="251936"/>
                <a:ext cx="90022" cy="85816"/>
              </a:xfrm>
              <a:custGeom>
                <a:avLst/>
                <a:gdLst>
                  <a:gd name="connsiteX0" fmla="*/ 89900 w 90022"/>
                  <a:gd name="connsiteY0" fmla="*/ 32269 h 85816"/>
                  <a:gd name="connsiteX1" fmla="*/ 87728 w 90022"/>
                  <a:gd name="connsiteY1" fmla="*/ 30672 h 85816"/>
                  <a:gd name="connsiteX2" fmla="*/ 56800 w 90022"/>
                  <a:gd name="connsiteY2" fmla="*/ 30672 h 85816"/>
                  <a:gd name="connsiteX3" fmla="*/ 47216 w 90022"/>
                  <a:gd name="connsiteY3" fmla="*/ 1597 h 85816"/>
                  <a:gd name="connsiteX4" fmla="*/ 44979 w 90022"/>
                  <a:gd name="connsiteY4" fmla="*/ 0 h 85816"/>
                  <a:gd name="connsiteX5" fmla="*/ 42807 w 90022"/>
                  <a:gd name="connsiteY5" fmla="*/ 1597 h 85816"/>
                  <a:gd name="connsiteX6" fmla="*/ 33286 w 90022"/>
                  <a:gd name="connsiteY6" fmla="*/ 30672 h 85816"/>
                  <a:gd name="connsiteX7" fmla="*/ 2294 w 90022"/>
                  <a:gd name="connsiteY7" fmla="*/ 30672 h 85816"/>
                  <a:gd name="connsiteX8" fmla="*/ 122 w 90022"/>
                  <a:gd name="connsiteY8" fmla="*/ 32269 h 85816"/>
                  <a:gd name="connsiteX9" fmla="*/ 953 w 90022"/>
                  <a:gd name="connsiteY9" fmla="*/ 34825 h 85816"/>
                  <a:gd name="connsiteX10" fmla="*/ 26001 w 90022"/>
                  <a:gd name="connsiteY10" fmla="*/ 53420 h 85816"/>
                  <a:gd name="connsiteX11" fmla="*/ 16416 w 90022"/>
                  <a:gd name="connsiteY11" fmla="*/ 82813 h 85816"/>
                  <a:gd name="connsiteX12" fmla="*/ 17247 w 90022"/>
                  <a:gd name="connsiteY12" fmla="*/ 85369 h 85816"/>
                  <a:gd name="connsiteX13" fmla="*/ 18589 w 90022"/>
                  <a:gd name="connsiteY13" fmla="*/ 85817 h 85816"/>
                  <a:gd name="connsiteX14" fmla="*/ 19994 w 90022"/>
                  <a:gd name="connsiteY14" fmla="*/ 85369 h 85816"/>
                  <a:gd name="connsiteX15" fmla="*/ 44979 w 90022"/>
                  <a:gd name="connsiteY15" fmla="*/ 67222 h 85816"/>
                  <a:gd name="connsiteX16" fmla="*/ 70028 w 90022"/>
                  <a:gd name="connsiteY16" fmla="*/ 85369 h 85816"/>
                  <a:gd name="connsiteX17" fmla="*/ 71369 w 90022"/>
                  <a:gd name="connsiteY17" fmla="*/ 85817 h 85816"/>
                  <a:gd name="connsiteX18" fmla="*/ 72775 w 90022"/>
                  <a:gd name="connsiteY18" fmla="*/ 85369 h 85816"/>
                  <a:gd name="connsiteX19" fmla="*/ 73606 w 90022"/>
                  <a:gd name="connsiteY19" fmla="*/ 82813 h 85816"/>
                  <a:gd name="connsiteX20" fmla="*/ 64021 w 90022"/>
                  <a:gd name="connsiteY20" fmla="*/ 53420 h 85816"/>
                  <a:gd name="connsiteX21" fmla="*/ 89070 w 90022"/>
                  <a:gd name="connsiteY21" fmla="*/ 34825 h 85816"/>
                  <a:gd name="connsiteX22" fmla="*/ 89900 w 90022"/>
                  <a:gd name="connsiteY22" fmla="*/ 32269 h 85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0022" h="85816">
                    <a:moveTo>
                      <a:pt x="89900" y="32269"/>
                    </a:moveTo>
                    <a:cubicBezTo>
                      <a:pt x="89517" y="31311"/>
                      <a:pt x="88686" y="30672"/>
                      <a:pt x="87728" y="30672"/>
                    </a:cubicBezTo>
                    <a:lnTo>
                      <a:pt x="56800" y="30672"/>
                    </a:lnTo>
                    <a:lnTo>
                      <a:pt x="47216" y="1597"/>
                    </a:lnTo>
                    <a:cubicBezTo>
                      <a:pt x="46896" y="639"/>
                      <a:pt x="46001" y="0"/>
                      <a:pt x="44979" y="0"/>
                    </a:cubicBezTo>
                    <a:cubicBezTo>
                      <a:pt x="43957" y="0"/>
                      <a:pt x="43126" y="639"/>
                      <a:pt x="42807" y="1597"/>
                    </a:cubicBezTo>
                    <a:lnTo>
                      <a:pt x="33286" y="30672"/>
                    </a:lnTo>
                    <a:lnTo>
                      <a:pt x="2294" y="30672"/>
                    </a:lnTo>
                    <a:cubicBezTo>
                      <a:pt x="1336" y="30672"/>
                      <a:pt x="441" y="31311"/>
                      <a:pt x="122" y="32269"/>
                    </a:cubicBezTo>
                    <a:cubicBezTo>
                      <a:pt x="-198" y="33228"/>
                      <a:pt x="122" y="34250"/>
                      <a:pt x="953" y="34825"/>
                    </a:cubicBezTo>
                    <a:lnTo>
                      <a:pt x="26001" y="53420"/>
                    </a:lnTo>
                    <a:lnTo>
                      <a:pt x="16416" y="82813"/>
                    </a:lnTo>
                    <a:cubicBezTo>
                      <a:pt x="16097" y="83772"/>
                      <a:pt x="16416" y="84730"/>
                      <a:pt x="17247" y="85369"/>
                    </a:cubicBezTo>
                    <a:cubicBezTo>
                      <a:pt x="17630" y="85625"/>
                      <a:pt x="18078" y="85817"/>
                      <a:pt x="18589" y="85817"/>
                    </a:cubicBezTo>
                    <a:cubicBezTo>
                      <a:pt x="19100" y="85817"/>
                      <a:pt x="19547" y="85625"/>
                      <a:pt x="19994" y="85369"/>
                    </a:cubicBezTo>
                    <a:lnTo>
                      <a:pt x="44979" y="67222"/>
                    </a:lnTo>
                    <a:lnTo>
                      <a:pt x="70028" y="85369"/>
                    </a:lnTo>
                    <a:cubicBezTo>
                      <a:pt x="70411" y="85625"/>
                      <a:pt x="70922" y="85817"/>
                      <a:pt x="71369" y="85817"/>
                    </a:cubicBezTo>
                    <a:cubicBezTo>
                      <a:pt x="71881" y="85817"/>
                      <a:pt x="72328" y="85625"/>
                      <a:pt x="72775" y="85369"/>
                    </a:cubicBezTo>
                    <a:cubicBezTo>
                      <a:pt x="73606" y="84794"/>
                      <a:pt x="73925" y="83772"/>
                      <a:pt x="73606" y="82813"/>
                    </a:cubicBezTo>
                    <a:lnTo>
                      <a:pt x="64021" y="53420"/>
                    </a:lnTo>
                    <a:lnTo>
                      <a:pt x="89070" y="34825"/>
                    </a:lnTo>
                    <a:cubicBezTo>
                      <a:pt x="89900" y="34250"/>
                      <a:pt x="90220" y="33228"/>
                      <a:pt x="89900" y="322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388975C6-7084-6B36-B2C7-7D3EB35958AA}"/>
                  </a:ext>
                </a:extLst>
              </p:cNvPr>
              <p:cNvSpPr/>
              <p:nvPr/>
            </p:nvSpPr>
            <p:spPr>
              <a:xfrm>
                <a:off x="3142250" y="311862"/>
                <a:ext cx="47901" cy="49309"/>
              </a:xfrm>
              <a:custGeom>
                <a:avLst/>
                <a:gdLst>
                  <a:gd name="connsiteX0" fmla="*/ 46879 w 47901"/>
                  <a:gd name="connsiteY0" fmla="*/ 24037 h 49309"/>
                  <a:gd name="connsiteX1" fmla="*/ 30968 w 47901"/>
                  <a:gd name="connsiteY1" fmla="*/ 18095 h 49309"/>
                  <a:gd name="connsiteX2" fmla="*/ 31671 w 47901"/>
                  <a:gd name="connsiteY2" fmla="*/ 1289 h 49309"/>
                  <a:gd name="connsiteX3" fmla="*/ 30840 w 47901"/>
                  <a:gd name="connsiteY3" fmla="*/ 75 h 49309"/>
                  <a:gd name="connsiteX4" fmla="*/ 29434 w 47901"/>
                  <a:gd name="connsiteY4" fmla="*/ 459 h 49309"/>
                  <a:gd name="connsiteX5" fmla="*/ 18955 w 47901"/>
                  <a:gd name="connsiteY5" fmla="*/ 13558 h 49309"/>
                  <a:gd name="connsiteX6" fmla="*/ 3044 w 47901"/>
                  <a:gd name="connsiteY6" fmla="*/ 7615 h 49309"/>
                  <a:gd name="connsiteX7" fmla="*/ 1638 w 47901"/>
                  <a:gd name="connsiteY7" fmla="*/ 7999 h 49309"/>
                  <a:gd name="connsiteX8" fmla="*/ 1574 w 47901"/>
                  <a:gd name="connsiteY8" fmla="*/ 9468 h 49309"/>
                  <a:gd name="connsiteX9" fmla="*/ 10840 w 47901"/>
                  <a:gd name="connsiteY9" fmla="*/ 23846 h 49309"/>
                  <a:gd name="connsiteX10" fmla="*/ 296 w 47901"/>
                  <a:gd name="connsiteY10" fmla="*/ 37073 h 49309"/>
                  <a:gd name="connsiteX11" fmla="*/ 232 w 47901"/>
                  <a:gd name="connsiteY11" fmla="*/ 38543 h 49309"/>
                  <a:gd name="connsiteX12" fmla="*/ 871 w 47901"/>
                  <a:gd name="connsiteY12" fmla="*/ 39054 h 49309"/>
                  <a:gd name="connsiteX13" fmla="*/ 1702 w 47901"/>
                  <a:gd name="connsiteY13" fmla="*/ 39054 h 49309"/>
                  <a:gd name="connsiteX14" fmla="*/ 18060 w 47901"/>
                  <a:gd name="connsiteY14" fmla="*/ 34517 h 49309"/>
                  <a:gd name="connsiteX15" fmla="*/ 27389 w 47901"/>
                  <a:gd name="connsiteY15" fmla="*/ 48702 h 49309"/>
                  <a:gd name="connsiteX16" fmla="*/ 28028 w 47901"/>
                  <a:gd name="connsiteY16" fmla="*/ 49214 h 49309"/>
                  <a:gd name="connsiteX17" fmla="*/ 28795 w 47901"/>
                  <a:gd name="connsiteY17" fmla="*/ 49214 h 49309"/>
                  <a:gd name="connsiteX18" fmla="*/ 29754 w 47901"/>
                  <a:gd name="connsiteY18" fmla="*/ 48063 h 49309"/>
                  <a:gd name="connsiteX19" fmla="*/ 30520 w 47901"/>
                  <a:gd name="connsiteY19" fmla="*/ 31130 h 49309"/>
                  <a:gd name="connsiteX20" fmla="*/ 46943 w 47901"/>
                  <a:gd name="connsiteY20" fmla="*/ 26402 h 49309"/>
                  <a:gd name="connsiteX21" fmla="*/ 47901 w 47901"/>
                  <a:gd name="connsiteY21" fmla="*/ 25251 h 49309"/>
                  <a:gd name="connsiteX22" fmla="*/ 47070 w 47901"/>
                  <a:gd name="connsiteY22" fmla="*/ 23973 h 49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7901" h="49309">
                    <a:moveTo>
                      <a:pt x="46879" y="24037"/>
                    </a:moveTo>
                    <a:lnTo>
                      <a:pt x="30968" y="18095"/>
                    </a:lnTo>
                    <a:lnTo>
                      <a:pt x="31671" y="1289"/>
                    </a:lnTo>
                    <a:cubicBezTo>
                      <a:pt x="31671" y="778"/>
                      <a:pt x="31351" y="267"/>
                      <a:pt x="30840" y="75"/>
                    </a:cubicBezTo>
                    <a:cubicBezTo>
                      <a:pt x="30329" y="-116"/>
                      <a:pt x="29818" y="75"/>
                      <a:pt x="29434" y="459"/>
                    </a:cubicBezTo>
                    <a:lnTo>
                      <a:pt x="18955" y="13558"/>
                    </a:lnTo>
                    <a:lnTo>
                      <a:pt x="3044" y="7615"/>
                    </a:lnTo>
                    <a:cubicBezTo>
                      <a:pt x="2533" y="7424"/>
                      <a:pt x="1957" y="7615"/>
                      <a:pt x="1638" y="7999"/>
                    </a:cubicBezTo>
                    <a:cubicBezTo>
                      <a:pt x="1255" y="8446"/>
                      <a:pt x="1255" y="9021"/>
                      <a:pt x="1574" y="9468"/>
                    </a:cubicBezTo>
                    <a:lnTo>
                      <a:pt x="10840" y="23846"/>
                    </a:lnTo>
                    <a:lnTo>
                      <a:pt x="296" y="37073"/>
                    </a:lnTo>
                    <a:cubicBezTo>
                      <a:pt x="-87" y="37520"/>
                      <a:pt x="-87" y="38095"/>
                      <a:pt x="232" y="38543"/>
                    </a:cubicBezTo>
                    <a:cubicBezTo>
                      <a:pt x="424" y="38734"/>
                      <a:pt x="616" y="38926"/>
                      <a:pt x="871" y="39054"/>
                    </a:cubicBezTo>
                    <a:cubicBezTo>
                      <a:pt x="1127" y="39118"/>
                      <a:pt x="1382" y="39181"/>
                      <a:pt x="1702" y="39054"/>
                    </a:cubicBezTo>
                    <a:lnTo>
                      <a:pt x="18060" y="34517"/>
                    </a:lnTo>
                    <a:lnTo>
                      <a:pt x="27389" y="48702"/>
                    </a:lnTo>
                    <a:cubicBezTo>
                      <a:pt x="27389" y="48702"/>
                      <a:pt x="27773" y="49086"/>
                      <a:pt x="28028" y="49214"/>
                    </a:cubicBezTo>
                    <a:cubicBezTo>
                      <a:pt x="28284" y="49341"/>
                      <a:pt x="28540" y="49341"/>
                      <a:pt x="28795" y="49214"/>
                    </a:cubicBezTo>
                    <a:cubicBezTo>
                      <a:pt x="29306" y="49022"/>
                      <a:pt x="29754" y="48575"/>
                      <a:pt x="29754" y="48063"/>
                    </a:cubicBezTo>
                    <a:lnTo>
                      <a:pt x="30520" y="31130"/>
                    </a:lnTo>
                    <a:lnTo>
                      <a:pt x="46943" y="26402"/>
                    </a:lnTo>
                    <a:cubicBezTo>
                      <a:pt x="47454" y="26274"/>
                      <a:pt x="47837" y="25827"/>
                      <a:pt x="47901" y="25251"/>
                    </a:cubicBezTo>
                    <a:cubicBezTo>
                      <a:pt x="47901" y="24676"/>
                      <a:pt x="47582" y="24229"/>
                      <a:pt x="47070" y="239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98AF78A2-F3AC-CCC9-80D0-C6C2EA4AA330}"/>
                  </a:ext>
                </a:extLst>
              </p:cNvPr>
              <p:cNvSpPr/>
              <p:nvPr/>
            </p:nvSpPr>
            <p:spPr>
              <a:xfrm>
                <a:off x="3007964" y="307902"/>
                <a:ext cx="48770" cy="48789"/>
              </a:xfrm>
              <a:custGeom>
                <a:avLst/>
                <a:gdLst>
                  <a:gd name="connsiteX0" fmla="*/ 15665 w 48770"/>
                  <a:gd name="connsiteY0" fmla="*/ 30554 h 48789"/>
                  <a:gd name="connsiteX1" fmla="*/ 12853 w 48770"/>
                  <a:gd name="connsiteY1" fmla="*/ 47295 h 48789"/>
                  <a:gd name="connsiteX2" fmla="*/ 13556 w 48770"/>
                  <a:gd name="connsiteY2" fmla="*/ 48637 h 48789"/>
                  <a:gd name="connsiteX3" fmla="*/ 14323 w 48770"/>
                  <a:gd name="connsiteY3" fmla="*/ 48765 h 48789"/>
                  <a:gd name="connsiteX4" fmla="*/ 15026 w 48770"/>
                  <a:gd name="connsiteY4" fmla="*/ 48445 h 48789"/>
                  <a:gd name="connsiteX5" fmla="*/ 27103 w 48770"/>
                  <a:gd name="connsiteY5" fmla="*/ 36496 h 48789"/>
                  <a:gd name="connsiteX6" fmla="*/ 42183 w 48770"/>
                  <a:gd name="connsiteY6" fmla="*/ 44292 h 48789"/>
                  <a:gd name="connsiteX7" fmla="*/ 42950 w 48770"/>
                  <a:gd name="connsiteY7" fmla="*/ 44420 h 48789"/>
                  <a:gd name="connsiteX8" fmla="*/ 43653 w 48770"/>
                  <a:gd name="connsiteY8" fmla="*/ 44036 h 48789"/>
                  <a:gd name="connsiteX9" fmla="*/ 43909 w 48770"/>
                  <a:gd name="connsiteY9" fmla="*/ 42567 h 48789"/>
                  <a:gd name="connsiteX10" fmla="*/ 36305 w 48770"/>
                  <a:gd name="connsiteY10" fmla="*/ 27359 h 48789"/>
                  <a:gd name="connsiteX11" fmla="*/ 48381 w 48770"/>
                  <a:gd name="connsiteY11" fmla="*/ 15218 h 48789"/>
                  <a:gd name="connsiteX12" fmla="*/ 48637 w 48770"/>
                  <a:gd name="connsiteY12" fmla="*/ 13748 h 48789"/>
                  <a:gd name="connsiteX13" fmla="*/ 47295 w 48770"/>
                  <a:gd name="connsiteY13" fmla="*/ 13109 h 48789"/>
                  <a:gd name="connsiteX14" fmla="*/ 30554 w 48770"/>
                  <a:gd name="connsiteY14" fmla="*/ 15665 h 48789"/>
                  <a:gd name="connsiteX15" fmla="*/ 23013 w 48770"/>
                  <a:gd name="connsiteY15" fmla="*/ 649 h 48789"/>
                  <a:gd name="connsiteX16" fmla="*/ 21672 w 48770"/>
                  <a:gd name="connsiteY16" fmla="*/ 10 h 48789"/>
                  <a:gd name="connsiteX17" fmla="*/ 20649 w 48770"/>
                  <a:gd name="connsiteY17" fmla="*/ 1032 h 48789"/>
                  <a:gd name="connsiteX18" fmla="*/ 17838 w 48770"/>
                  <a:gd name="connsiteY18" fmla="*/ 17582 h 48789"/>
                  <a:gd name="connsiteX19" fmla="*/ 1032 w 48770"/>
                  <a:gd name="connsiteY19" fmla="*/ 20138 h 48789"/>
                  <a:gd name="connsiteX20" fmla="*/ 10 w 48770"/>
                  <a:gd name="connsiteY20" fmla="*/ 21160 h 48789"/>
                  <a:gd name="connsiteX21" fmla="*/ 649 w 48770"/>
                  <a:gd name="connsiteY21" fmla="*/ 22438 h 48789"/>
                  <a:gd name="connsiteX22" fmla="*/ 15793 w 48770"/>
                  <a:gd name="connsiteY22" fmla="*/ 30490 h 48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770" h="48789">
                    <a:moveTo>
                      <a:pt x="15665" y="30554"/>
                    </a:moveTo>
                    <a:lnTo>
                      <a:pt x="12853" y="47295"/>
                    </a:lnTo>
                    <a:cubicBezTo>
                      <a:pt x="12790" y="47806"/>
                      <a:pt x="13045" y="48381"/>
                      <a:pt x="13556" y="48637"/>
                    </a:cubicBezTo>
                    <a:cubicBezTo>
                      <a:pt x="13812" y="48765"/>
                      <a:pt x="14068" y="48829"/>
                      <a:pt x="14323" y="48765"/>
                    </a:cubicBezTo>
                    <a:cubicBezTo>
                      <a:pt x="14579" y="48765"/>
                      <a:pt x="14834" y="48573"/>
                      <a:pt x="15026" y="48445"/>
                    </a:cubicBezTo>
                    <a:lnTo>
                      <a:pt x="27103" y="36496"/>
                    </a:lnTo>
                    <a:lnTo>
                      <a:pt x="42183" y="44292"/>
                    </a:lnTo>
                    <a:cubicBezTo>
                      <a:pt x="42183" y="44292"/>
                      <a:pt x="42695" y="44484"/>
                      <a:pt x="42950" y="44420"/>
                    </a:cubicBezTo>
                    <a:cubicBezTo>
                      <a:pt x="43206" y="44420"/>
                      <a:pt x="43461" y="44228"/>
                      <a:pt x="43653" y="44036"/>
                    </a:cubicBezTo>
                    <a:cubicBezTo>
                      <a:pt x="44036" y="43653"/>
                      <a:pt x="44164" y="43078"/>
                      <a:pt x="43909" y="42567"/>
                    </a:cubicBezTo>
                    <a:lnTo>
                      <a:pt x="36305" y="27359"/>
                    </a:lnTo>
                    <a:lnTo>
                      <a:pt x="48381" y="15218"/>
                    </a:lnTo>
                    <a:cubicBezTo>
                      <a:pt x="48765" y="14834"/>
                      <a:pt x="48893" y="14259"/>
                      <a:pt x="48637" y="13748"/>
                    </a:cubicBezTo>
                    <a:cubicBezTo>
                      <a:pt x="48381" y="13237"/>
                      <a:pt x="47806" y="13045"/>
                      <a:pt x="47295" y="13109"/>
                    </a:cubicBezTo>
                    <a:lnTo>
                      <a:pt x="30554" y="15665"/>
                    </a:lnTo>
                    <a:lnTo>
                      <a:pt x="23013" y="649"/>
                    </a:lnTo>
                    <a:cubicBezTo>
                      <a:pt x="22758" y="201"/>
                      <a:pt x="22183" y="-54"/>
                      <a:pt x="21672" y="10"/>
                    </a:cubicBezTo>
                    <a:cubicBezTo>
                      <a:pt x="21160" y="74"/>
                      <a:pt x="20713" y="521"/>
                      <a:pt x="20649" y="1032"/>
                    </a:cubicBezTo>
                    <a:lnTo>
                      <a:pt x="17838" y="17582"/>
                    </a:lnTo>
                    <a:lnTo>
                      <a:pt x="1032" y="20138"/>
                    </a:lnTo>
                    <a:cubicBezTo>
                      <a:pt x="521" y="20202"/>
                      <a:pt x="74" y="20649"/>
                      <a:pt x="10" y="21160"/>
                    </a:cubicBezTo>
                    <a:cubicBezTo>
                      <a:pt x="-54" y="21672"/>
                      <a:pt x="201" y="22183"/>
                      <a:pt x="649" y="22438"/>
                    </a:cubicBezTo>
                    <a:lnTo>
                      <a:pt x="15793" y="30490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CE6FBB97-EE55-D5AF-4055-E0980271501B}"/>
                  </a:ext>
                </a:extLst>
              </p:cNvPr>
              <p:cNvSpPr/>
              <p:nvPr/>
            </p:nvSpPr>
            <p:spPr>
              <a:xfrm>
                <a:off x="2876102" y="364270"/>
                <a:ext cx="249571" cy="472470"/>
              </a:xfrm>
              <a:custGeom>
                <a:avLst/>
                <a:gdLst>
                  <a:gd name="connsiteX0" fmla="*/ 208679 w 249571"/>
                  <a:gd name="connsiteY0" fmla="*/ 288633 h 472470"/>
                  <a:gd name="connsiteX1" fmla="*/ 208679 w 249571"/>
                  <a:gd name="connsiteY1" fmla="*/ 164796 h 472470"/>
                  <a:gd name="connsiteX2" fmla="*/ 211171 w 249571"/>
                  <a:gd name="connsiteY2" fmla="*/ 161090 h 472470"/>
                  <a:gd name="connsiteX3" fmla="*/ 213280 w 249571"/>
                  <a:gd name="connsiteY3" fmla="*/ 157959 h 472470"/>
                  <a:gd name="connsiteX4" fmla="*/ 237753 w 249571"/>
                  <a:gd name="connsiteY4" fmla="*/ 107223 h 472470"/>
                  <a:gd name="connsiteX5" fmla="*/ 248680 w 249571"/>
                  <a:gd name="connsiteY5" fmla="*/ 22812 h 472470"/>
                  <a:gd name="connsiteX6" fmla="*/ 224526 w 249571"/>
                  <a:gd name="connsiteY6" fmla="*/ 0 h 472470"/>
                  <a:gd name="connsiteX7" fmla="*/ 223184 w 249571"/>
                  <a:gd name="connsiteY7" fmla="*/ 0 h 472470"/>
                  <a:gd name="connsiteX8" fmla="*/ 200436 w 249571"/>
                  <a:gd name="connsiteY8" fmla="*/ 25432 h 472470"/>
                  <a:gd name="connsiteX9" fmla="*/ 200436 w 249571"/>
                  <a:gd name="connsiteY9" fmla="*/ 25687 h 472470"/>
                  <a:gd name="connsiteX10" fmla="*/ 178902 w 249571"/>
                  <a:gd name="connsiteY10" fmla="*/ 121345 h 472470"/>
                  <a:gd name="connsiteX11" fmla="*/ 170851 w 249571"/>
                  <a:gd name="connsiteY11" fmla="*/ 134316 h 472470"/>
                  <a:gd name="connsiteX12" fmla="*/ 162927 w 249571"/>
                  <a:gd name="connsiteY12" fmla="*/ 143326 h 472470"/>
                  <a:gd name="connsiteX13" fmla="*/ 145611 w 249571"/>
                  <a:gd name="connsiteY13" fmla="*/ 146265 h 472470"/>
                  <a:gd name="connsiteX14" fmla="*/ 145611 w 249571"/>
                  <a:gd name="connsiteY14" fmla="*/ 146265 h 472470"/>
                  <a:gd name="connsiteX15" fmla="*/ 140499 w 249571"/>
                  <a:gd name="connsiteY15" fmla="*/ 147415 h 472470"/>
                  <a:gd name="connsiteX16" fmla="*/ 140499 w 249571"/>
                  <a:gd name="connsiteY16" fmla="*/ 147415 h 472470"/>
                  <a:gd name="connsiteX17" fmla="*/ 135387 w 249571"/>
                  <a:gd name="connsiteY17" fmla="*/ 148629 h 472470"/>
                  <a:gd name="connsiteX18" fmla="*/ 135195 w 249571"/>
                  <a:gd name="connsiteY18" fmla="*/ 148629 h 472470"/>
                  <a:gd name="connsiteX19" fmla="*/ 121904 w 249571"/>
                  <a:gd name="connsiteY19" fmla="*/ 154125 h 472470"/>
                  <a:gd name="connsiteX20" fmla="*/ 114300 w 249571"/>
                  <a:gd name="connsiteY20" fmla="*/ 157959 h 472470"/>
                  <a:gd name="connsiteX21" fmla="*/ 112830 w 249571"/>
                  <a:gd name="connsiteY21" fmla="*/ 158662 h 472470"/>
                  <a:gd name="connsiteX22" fmla="*/ 109444 w 249571"/>
                  <a:gd name="connsiteY22" fmla="*/ 160195 h 472470"/>
                  <a:gd name="connsiteX23" fmla="*/ 69826 w 249571"/>
                  <a:gd name="connsiteY23" fmla="*/ 178726 h 472470"/>
                  <a:gd name="connsiteX24" fmla="*/ 63372 w 249571"/>
                  <a:gd name="connsiteY24" fmla="*/ 182240 h 472470"/>
                  <a:gd name="connsiteX25" fmla="*/ 61455 w 249571"/>
                  <a:gd name="connsiteY25" fmla="*/ 183646 h 472470"/>
                  <a:gd name="connsiteX26" fmla="*/ 59985 w 249571"/>
                  <a:gd name="connsiteY26" fmla="*/ 184796 h 472470"/>
                  <a:gd name="connsiteX27" fmla="*/ 55960 w 249571"/>
                  <a:gd name="connsiteY27" fmla="*/ 188630 h 472470"/>
                  <a:gd name="connsiteX28" fmla="*/ 50592 w 249571"/>
                  <a:gd name="connsiteY28" fmla="*/ 195851 h 472470"/>
                  <a:gd name="connsiteX29" fmla="*/ 46886 w 249571"/>
                  <a:gd name="connsiteY29" fmla="*/ 202305 h 472470"/>
                  <a:gd name="connsiteX30" fmla="*/ 46758 w 249571"/>
                  <a:gd name="connsiteY30" fmla="*/ 202496 h 472470"/>
                  <a:gd name="connsiteX31" fmla="*/ 19537 w 249571"/>
                  <a:gd name="connsiteY31" fmla="*/ 256236 h 472470"/>
                  <a:gd name="connsiteX32" fmla="*/ 18387 w 249571"/>
                  <a:gd name="connsiteY32" fmla="*/ 259175 h 472470"/>
                  <a:gd name="connsiteX33" fmla="*/ 23563 w 249571"/>
                  <a:gd name="connsiteY33" fmla="*/ 284032 h 472470"/>
                  <a:gd name="connsiteX34" fmla="*/ 29442 w 249571"/>
                  <a:gd name="connsiteY34" fmla="*/ 289016 h 472470"/>
                  <a:gd name="connsiteX35" fmla="*/ 40880 w 249571"/>
                  <a:gd name="connsiteY35" fmla="*/ 291891 h 472470"/>
                  <a:gd name="connsiteX36" fmla="*/ 53723 w 249571"/>
                  <a:gd name="connsiteY36" fmla="*/ 288185 h 472470"/>
                  <a:gd name="connsiteX37" fmla="*/ 63180 w 249571"/>
                  <a:gd name="connsiteY37" fmla="*/ 277003 h 472470"/>
                  <a:gd name="connsiteX38" fmla="*/ 90721 w 249571"/>
                  <a:gd name="connsiteY38" fmla="*/ 221283 h 472470"/>
                  <a:gd name="connsiteX39" fmla="*/ 102479 w 249571"/>
                  <a:gd name="connsiteY39" fmla="*/ 215404 h 472470"/>
                  <a:gd name="connsiteX40" fmla="*/ 112511 w 249571"/>
                  <a:gd name="connsiteY40" fmla="*/ 210356 h 472470"/>
                  <a:gd name="connsiteX41" fmla="*/ 112511 w 249571"/>
                  <a:gd name="connsiteY41" fmla="*/ 308058 h 472470"/>
                  <a:gd name="connsiteX42" fmla="*/ 97430 w 249571"/>
                  <a:gd name="connsiteY42" fmla="*/ 338602 h 472470"/>
                  <a:gd name="connsiteX43" fmla="*/ 25672 w 249571"/>
                  <a:gd name="connsiteY43" fmla="*/ 333937 h 472470"/>
                  <a:gd name="connsiteX44" fmla="*/ 24138 w 249571"/>
                  <a:gd name="connsiteY44" fmla="*/ 333873 h 472470"/>
                  <a:gd name="connsiteX45" fmla="*/ 48 w 249571"/>
                  <a:gd name="connsiteY45" fmla="*/ 356557 h 472470"/>
                  <a:gd name="connsiteX46" fmla="*/ 22541 w 249571"/>
                  <a:gd name="connsiteY46" fmla="*/ 382117 h 472470"/>
                  <a:gd name="connsiteX47" fmla="*/ 110338 w 249571"/>
                  <a:gd name="connsiteY47" fmla="*/ 387932 h 472470"/>
                  <a:gd name="connsiteX48" fmla="*/ 111041 w 249571"/>
                  <a:gd name="connsiteY48" fmla="*/ 387932 h 472470"/>
                  <a:gd name="connsiteX49" fmla="*/ 111936 w 249571"/>
                  <a:gd name="connsiteY49" fmla="*/ 387996 h 472470"/>
                  <a:gd name="connsiteX50" fmla="*/ 133534 w 249571"/>
                  <a:gd name="connsiteY50" fmla="*/ 374513 h 472470"/>
                  <a:gd name="connsiteX51" fmla="*/ 164652 w 249571"/>
                  <a:gd name="connsiteY51" fmla="*/ 311636 h 472470"/>
                  <a:gd name="connsiteX52" fmla="*/ 164716 w 249571"/>
                  <a:gd name="connsiteY52" fmla="*/ 311636 h 472470"/>
                  <a:gd name="connsiteX53" fmla="*/ 200628 w 249571"/>
                  <a:gd name="connsiteY53" fmla="*/ 354129 h 472470"/>
                  <a:gd name="connsiteX54" fmla="*/ 194046 w 249571"/>
                  <a:gd name="connsiteY54" fmla="*/ 446655 h 472470"/>
                  <a:gd name="connsiteX55" fmla="*/ 216411 w 249571"/>
                  <a:gd name="connsiteY55" fmla="*/ 472407 h 472470"/>
                  <a:gd name="connsiteX56" fmla="*/ 218200 w 249571"/>
                  <a:gd name="connsiteY56" fmla="*/ 472471 h 472470"/>
                  <a:gd name="connsiteX57" fmla="*/ 242290 w 249571"/>
                  <a:gd name="connsiteY57" fmla="*/ 450042 h 472470"/>
                  <a:gd name="connsiteX58" fmla="*/ 249511 w 249571"/>
                  <a:gd name="connsiteY58" fmla="*/ 347612 h 472470"/>
                  <a:gd name="connsiteX59" fmla="*/ 243824 w 249571"/>
                  <a:gd name="connsiteY59" fmla="*/ 330295 h 472470"/>
                  <a:gd name="connsiteX60" fmla="*/ 208615 w 249571"/>
                  <a:gd name="connsiteY60" fmla="*/ 288569 h 472470"/>
                  <a:gd name="connsiteX61" fmla="*/ 217114 w 249571"/>
                  <a:gd name="connsiteY61" fmla="*/ 348698 h 472470"/>
                  <a:gd name="connsiteX62" fmla="*/ 176985 w 249571"/>
                  <a:gd name="connsiteY62" fmla="*/ 301285 h 472470"/>
                  <a:gd name="connsiteX63" fmla="*/ 172065 w 249571"/>
                  <a:gd name="connsiteY63" fmla="*/ 295598 h 472470"/>
                  <a:gd name="connsiteX64" fmla="*/ 154748 w 249571"/>
                  <a:gd name="connsiteY64" fmla="*/ 295598 h 472470"/>
                  <a:gd name="connsiteX65" fmla="*/ 119220 w 249571"/>
                  <a:gd name="connsiteY65" fmla="*/ 367420 h 472470"/>
                  <a:gd name="connsiteX66" fmla="*/ 112511 w 249571"/>
                  <a:gd name="connsiteY66" fmla="*/ 371957 h 472470"/>
                  <a:gd name="connsiteX67" fmla="*/ 111041 w 249571"/>
                  <a:gd name="connsiteY67" fmla="*/ 371957 h 472470"/>
                  <a:gd name="connsiteX68" fmla="*/ 23627 w 249571"/>
                  <a:gd name="connsiteY68" fmla="*/ 366206 h 472470"/>
                  <a:gd name="connsiteX69" fmla="*/ 18068 w 249571"/>
                  <a:gd name="connsiteY69" fmla="*/ 363522 h 472470"/>
                  <a:gd name="connsiteX70" fmla="*/ 16087 w 249571"/>
                  <a:gd name="connsiteY70" fmla="*/ 357580 h 472470"/>
                  <a:gd name="connsiteX71" fmla="*/ 24202 w 249571"/>
                  <a:gd name="connsiteY71" fmla="*/ 349912 h 472470"/>
                  <a:gd name="connsiteX72" fmla="*/ 107079 w 249571"/>
                  <a:gd name="connsiteY72" fmla="*/ 355343 h 472470"/>
                  <a:gd name="connsiteX73" fmla="*/ 128613 w 249571"/>
                  <a:gd name="connsiteY73" fmla="*/ 311892 h 472470"/>
                  <a:gd name="connsiteX74" fmla="*/ 128613 w 249571"/>
                  <a:gd name="connsiteY74" fmla="*/ 184477 h 472470"/>
                  <a:gd name="connsiteX75" fmla="*/ 79027 w 249571"/>
                  <a:gd name="connsiteY75" fmla="*/ 209398 h 472470"/>
                  <a:gd name="connsiteX76" fmla="*/ 76599 w 249571"/>
                  <a:gd name="connsiteY76" fmla="*/ 213998 h 472470"/>
                  <a:gd name="connsiteX77" fmla="*/ 48611 w 249571"/>
                  <a:gd name="connsiteY77" fmla="*/ 270677 h 472470"/>
                  <a:gd name="connsiteX78" fmla="*/ 45289 w 249571"/>
                  <a:gd name="connsiteY78" fmla="*/ 274703 h 472470"/>
                  <a:gd name="connsiteX79" fmla="*/ 37621 w 249571"/>
                  <a:gd name="connsiteY79" fmla="*/ 275278 h 472470"/>
                  <a:gd name="connsiteX80" fmla="*/ 35959 w 249571"/>
                  <a:gd name="connsiteY80" fmla="*/ 273872 h 472470"/>
                  <a:gd name="connsiteX81" fmla="*/ 35640 w 249571"/>
                  <a:gd name="connsiteY81" fmla="*/ 273488 h 472470"/>
                  <a:gd name="connsiteX82" fmla="*/ 33659 w 249571"/>
                  <a:gd name="connsiteY82" fmla="*/ 264287 h 472470"/>
                  <a:gd name="connsiteX83" fmla="*/ 34042 w 249571"/>
                  <a:gd name="connsiteY83" fmla="*/ 263328 h 472470"/>
                  <a:gd name="connsiteX84" fmla="*/ 60944 w 249571"/>
                  <a:gd name="connsiteY84" fmla="*/ 210164 h 472470"/>
                  <a:gd name="connsiteX85" fmla="*/ 62350 w 249571"/>
                  <a:gd name="connsiteY85" fmla="*/ 207608 h 472470"/>
                  <a:gd name="connsiteX86" fmla="*/ 63947 w 249571"/>
                  <a:gd name="connsiteY86" fmla="*/ 204925 h 472470"/>
                  <a:gd name="connsiteX87" fmla="*/ 64970 w 249571"/>
                  <a:gd name="connsiteY87" fmla="*/ 203455 h 472470"/>
                  <a:gd name="connsiteX88" fmla="*/ 67909 w 249571"/>
                  <a:gd name="connsiteY88" fmla="*/ 199429 h 472470"/>
                  <a:gd name="connsiteX89" fmla="*/ 69954 w 249571"/>
                  <a:gd name="connsiteY89" fmla="*/ 197448 h 472470"/>
                  <a:gd name="connsiteX90" fmla="*/ 71807 w 249571"/>
                  <a:gd name="connsiteY90" fmla="*/ 196043 h 472470"/>
                  <a:gd name="connsiteX91" fmla="*/ 72318 w 249571"/>
                  <a:gd name="connsiteY91" fmla="*/ 195723 h 472470"/>
                  <a:gd name="connsiteX92" fmla="*/ 76535 w 249571"/>
                  <a:gd name="connsiteY92" fmla="*/ 193423 h 472470"/>
                  <a:gd name="connsiteX93" fmla="*/ 116281 w 249571"/>
                  <a:gd name="connsiteY93" fmla="*/ 174828 h 472470"/>
                  <a:gd name="connsiteX94" fmla="*/ 119092 w 249571"/>
                  <a:gd name="connsiteY94" fmla="*/ 173550 h 472470"/>
                  <a:gd name="connsiteX95" fmla="*/ 125546 w 249571"/>
                  <a:gd name="connsiteY95" fmla="*/ 170419 h 472470"/>
                  <a:gd name="connsiteX96" fmla="*/ 129444 w 249571"/>
                  <a:gd name="connsiteY96" fmla="*/ 168438 h 472470"/>
                  <a:gd name="connsiteX97" fmla="*/ 139732 w 249571"/>
                  <a:gd name="connsiteY97" fmla="*/ 164157 h 472470"/>
                  <a:gd name="connsiteX98" fmla="*/ 163566 w 249571"/>
                  <a:gd name="connsiteY98" fmla="*/ 159428 h 472470"/>
                  <a:gd name="connsiteX99" fmla="*/ 170595 w 249571"/>
                  <a:gd name="connsiteY99" fmla="*/ 159237 h 472470"/>
                  <a:gd name="connsiteX100" fmla="*/ 183119 w 249571"/>
                  <a:gd name="connsiteY100" fmla="*/ 144923 h 472470"/>
                  <a:gd name="connsiteX101" fmla="*/ 184270 w 249571"/>
                  <a:gd name="connsiteY101" fmla="*/ 143454 h 472470"/>
                  <a:gd name="connsiteX102" fmla="*/ 193088 w 249571"/>
                  <a:gd name="connsiteY102" fmla="*/ 129332 h 472470"/>
                  <a:gd name="connsiteX103" fmla="*/ 216666 w 249571"/>
                  <a:gd name="connsiteY103" fmla="*/ 25240 h 472470"/>
                  <a:gd name="connsiteX104" fmla="*/ 216666 w 249571"/>
                  <a:gd name="connsiteY104" fmla="*/ 24665 h 472470"/>
                  <a:gd name="connsiteX105" fmla="*/ 218711 w 249571"/>
                  <a:gd name="connsiteY105" fmla="*/ 18786 h 472470"/>
                  <a:gd name="connsiteX106" fmla="*/ 224271 w 249571"/>
                  <a:gd name="connsiteY106" fmla="*/ 16103 h 472470"/>
                  <a:gd name="connsiteX107" fmla="*/ 224782 w 249571"/>
                  <a:gd name="connsiteY107" fmla="*/ 16103 h 472470"/>
                  <a:gd name="connsiteX108" fmla="*/ 232897 w 249571"/>
                  <a:gd name="connsiteY108" fmla="*/ 23962 h 472470"/>
                  <a:gd name="connsiteX109" fmla="*/ 222801 w 249571"/>
                  <a:gd name="connsiteY109" fmla="*/ 102303 h 472470"/>
                  <a:gd name="connsiteX110" fmla="*/ 199989 w 249571"/>
                  <a:gd name="connsiteY110" fmla="*/ 149524 h 472470"/>
                  <a:gd name="connsiteX111" fmla="*/ 198519 w 249571"/>
                  <a:gd name="connsiteY111" fmla="*/ 151697 h 472470"/>
                  <a:gd name="connsiteX112" fmla="*/ 197752 w 249571"/>
                  <a:gd name="connsiteY112" fmla="*/ 152847 h 472470"/>
                  <a:gd name="connsiteX113" fmla="*/ 195963 w 249571"/>
                  <a:gd name="connsiteY113" fmla="*/ 155467 h 472470"/>
                  <a:gd name="connsiteX114" fmla="*/ 192896 w 249571"/>
                  <a:gd name="connsiteY114" fmla="*/ 159684 h 472470"/>
                  <a:gd name="connsiteX115" fmla="*/ 192896 w 249571"/>
                  <a:gd name="connsiteY115" fmla="*/ 294575 h 472470"/>
                  <a:gd name="connsiteX116" fmla="*/ 232002 w 249571"/>
                  <a:gd name="connsiteY116" fmla="*/ 340838 h 472470"/>
                  <a:gd name="connsiteX117" fmla="*/ 233855 w 249571"/>
                  <a:gd name="connsiteY117" fmla="*/ 346589 h 472470"/>
                  <a:gd name="connsiteX118" fmla="*/ 226635 w 249571"/>
                  <a:gd name="connsiteY118" fmla="*/ 448956 h 472470"/>
                  <a:gd name="connsiteX119" fmla="*/ 218519 w 249571"/>
                  <a:gd name="connsiteY119" fmla="*/ 456496 h 472470"/>
                  <a:gd name="connsiteX120" fmla="*/ 218136 w 249571"/>
                  <a:gd name="connsiteY120" fmla="*/ 456496 h 472470"/>
                  <a:gd name="connsiteX121" fmla="*/ 217944 w 249571"/>
                  <a:gd name="connsiteY121" fmla="*/ 456496 h 472470"/>
                  <a:gd name="connsiteX122" fmla="*/ 210404 w 249571"/>
                  <a:gd name="connsiteY122" fmla="*/ 447805 h 472470"/>
                  <a:gd name="connsiteX123" fmla="*/ 217433 w 249571"/>
                  <a:gd name="connsiteY123" fmla="*/ 348762 h 472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49571" h="472470">
                    <a:moveTo>
                      <a:pt x="208679" y="288633"/>
                    </a:moveTo>
                    <a:lnTo>
                      <a:pt x="208679" y="164796"/>
                    </a:lnTo>
                    <a:cubicBezTo>
                      <a:pt x="209574" y="163582"/>
                      <a:pt x="210404" y="162304"/>
                      <a:pt x="211171" y="161090"/>
                    </a:cubicBezTo>
                    <a:cubicBezTo>
                      <a:pt x="211938" y="160067"/>
                      <a:pt x="212577" y="159045"/>
                      <a:pt x="213280" y="157959"/>
                    </a:cubicBezTo>
                    <a:cubicBezTo>
                      <a:pt x="223695" y="142048"/>
                      <a:pt x="231875" y="124987"/>
                      <a:pt x="237753" y="107223"/>
                    </a:cubicBezTo>
                    <a:cubicBezTo>
                      <a:pt x="246763" y="80257"/>
                      <a:pt x="250533" y="51567"/>
                      <a:pt x="248680" y="22812"/>
                    </a:cubicBezTo>
                    <a:cubicBezTo>
                      <a:pt x="247977" y="9968"/>
                      <a:pt x="237306" y="0"/>
                      <a:pt x="224526" y="0"/>
                    </a:cubicBezTo>
                    <a:cubicBezTo>
                      <a:pt x="224079" y="0"/>
                      <a:pt x="223631" y="0"/>
                      <a:pt x="223184" y="0"/>
                    </a:cubicBezTo>
                    <a:cubicBezTo>
                      <a:pt x="209893" y="703"/>
                      <a:pt x="199669" y="12141"/>
                      <a:pt x="200436" y="25432"/>
                    </a:cubicBezTo>
                    <a:lnTo>
                      <a:pt x="200436" y="25687"/>
                    </a:lnTo>
                    <a:cubicBezTo>
                      <a:pt x="202800" y="59107"/>
                      <a:pt x="195196" y="92334"/>
                      <a:pt x="178902" y="121345"/>
                    </a:cubicBezTo>
                    <a:cubicBezTo>
                      <a:pt x="176410" y="125817"/>
                      <a:pt x="173790" y="130099"/>
                      <a:pt x="170851" y="134316"/>
                    </a:cubicBezTo>
                    <a:lnTo>
                      <a:pt x="162927" y="143326"/>
                    </a:lnTo>
                    <a:cubicBezTo>
                      <a:pt x="159605" y="143390"/>
                      <a:pt x="152064" y="144923"/>
                      <a:pt x="145611" y="146265"/>
                    </a:cubicBezTo>
                    <a:lnTo>
                      <a:pt x="145611" y="146265"/>
                    </a:lnTo>
                    <a:cubicBezTo>
                      <a:pt x="143757" y="146649"/>
                      <a:pt x="142032" y="147096"/>
                      <a:pt x="140499" y="147415"/>
                    </a:cubicBezTo>
                    <a:lnTo>
                      <a:pt x="140499" y="147415"/>
                    </a:lnTo>
                    <a:cubicBezTo>
                      <a:pt x="137431" y="148118"/>
                      <a:pt x="135387" y="148629"/>
                      <a:pt x="135387" y="148629"/>
                    </a:cubicBezTo>
                    <a:cubicBezTo>
                      <a:pt x="135387" y="148629"/>
                      <a:pt x="135387" y="148629"/>
                      <a:pt x="135195" y="148629"/>
                    </a:cubicBezTo>
                    <a:cubicBezTo>
                      <a:pt x="134109" y="149013"/>
                      <a:pt x="128038" y="151058"/>
                      <a:pt x="121904" y="154125"/>
                    </a:cubicBezTo>
                    <a:cubicBezTo>
                      <a:pt x="120434" y="154955"/>
                      <a:pt x="117750" y="156170"/>
                      <a:pt x="114300" y="157959"/>
                    </a:cubicBezTo>
                    <a:cubicBezTo>
                      <a:pt x="113789" y="158150"/>
                      <a:pt x="113278" y="158406"/>
                      <a:pt x="112830" y="158662"/>
                    </a:cubicBezTo>
                    <a:cubicBezTo>
                      <a:pt x="111808" y="159173"/>
                      <a:pt x="110658" y="159684"/>
                      <a:pt x="109444" y="160195"/>
                    </a:cubicBezTo>
                    <a:cubicBezTo>
                      <a:pt x="96791" y="166266"/>
                      <a:pt x="78708" y="174764"/>
                      <a:pt x="69826" y="178726"/>
                    </a:cubicBezTo>
                    <a:cubicBezTo>
                      <a:pt x="67398" y="179812"/>
                      <a:pt x="65225" y="181026"/>
                      <a:pt x="63372" y="182240"/>
                    </a:cubicBezTo>
                    <a:cubicBezTo>
                      <a:pt x="62669" y="182688"/>
                      <a:pt x="62094" y="183135"/>
                      <a:pt x="61455" y="183646"/>
                    </a:cubicBezTo>
                    <a:cubicBezTo>
                      <a:pt x="60944" y="184030"/>
                      <a:pt x="60433" y="184477"/>
                      <a:pt x="59985" y="184796"/>
                    </a:cubicBezTo>
                    <a:cubicBezTo>
                      <a:pt x="58388" y="186074"/>
                      <a:pt x="57110" y="187352"/>
                      <a:pt x="55960" y="188630"/>
                    </a:cubicBezTo>
                    <a:cubicBezTo>
                      <a:pt x="53020" y="191889"/>
                      <a:pt x="51487" y="194637"/>
                      <a:pt x="50592" y="195851"/>
                    </a:cubicBezTo>
                    <a:cubicBezTo>
                      <a:pt x="49825" y="197001"/>
                      <a:pt x="48484" y="199302"/>
                      <a:pt x="46886" y="202305"/>
                    </a:cubicBezTo>
                    <a:cubicBezTo>
                      <a:pt x="46886" y="202305"/>
                      <a:pt x="46758" y="202496"/>
                      <a:pt x="46758" y="202496"/>
                    </a:cubicBezTo>
                    <a:cubicBezTo>
                      <a:pt x="37876" y="218855"/>
                      <a:pt x="19537" y="256236"/>
                      <a:pt x="19537" y="256236"/>
                    </a:cubicBezTo>
                    <a:cubicBezTo>
                      <a:pt x="19090" y="257194"/>
                      <a:pt x="18707" y="258153"/>
                      <a:pt x="18387" y="259175"/>
                    </a:cubicBezTo>
                    <a:cubicBezTo>
                      <a:pt x="15576" y="267865"/>
                      <a:pt x="17620" y="277322"/>
                      <a:pt x="23563" y="284032"/>
                    </a:cubicBezTo>
                    <a:cubicBezTo>
                      <a:pt x="25160" y="285949"/>
                      <a:pt x="27141" y="287610"/>
                      <a:pt x="29442" y="289016"/>
                    </a:cubicBezTo>
                    <a:cubicBezTo>
                      <a:pt x="33020" y="290933"/>
                      <a:pt x="36918" y="291891"/>
                      <a:pt x="40880" y="291891"/>
                    </a:cubicBezTo>
                    <a:cubicBezTo>
                      <a:pt x="45353" y="291891"/>
                      <a:pt x="49825" y="290677"/>
                      <a:pt x="53723" y="288185"/>
                    </a:cubicBezTo>
                    <a:cubicBezTo>
                      <a:pt x="57877" y="285502"/>
                      <a:pt x="61200" y="281540"/>
                      <a:pt x="63180" y="277003"/>
                    </a:cubicBezTo>
                    <a:cubicBezTo>
                      <a:pt x="70721" y="259558"/>
                      <a:pt x="90721" y="221283"/>
                      <a:pt x="90721" y="221283"/>
                    </a:cubicBezTo>
                    <a:lnTo>
                      <a:pt x="102479" y="215404"/>
                    </a:lnTo>
                    <a:lnTo>
                      <a:pt x="112511" y="210356"/>
                    </a:lnTo>
                    <a:lnTo>
                      <a:pt x="112511" y="308058"/>
                    </a:lnTo>
                    <a:lnTo>
                      <a:pt x="97430" y="338602"/>
                    </a:lnTo>
                    <a:lnTo>
                      <a:pt x="25672" y="333937"/>
                    </a:lnTo>
                    <a:cubicBezTo>
                      <a:pt x="25160" y="333937"/>
                      <a:pt x="24649" y="333873"/>
                      <a:pt x="24138" y="333873"/>
                    </a:cubicBezTo>
                    <a:cubicBezTo>
                      <a:pt x="11486" y="333873"/>
                      <a:pt x="879" y="343778"/>
                      <a:pt x="48" y="356557"/>
                    </a:cubicBezTo>
                    <a:cubicBezTo>
                      <a:pt x="-783" y="369848"/>
                      <a:pt x="9249" y="381286"/>
                      <a:pt x="22541" y="382117"/>
                    </a:cubicBezTo>
                    <a:lnTo>
                      <a:pt x="110338" y="387932"/>
                    </a:lnTo>
                    <a:lnTo>
                      <a:pt x="111041" y="387932"/>
                    </a:lnTo>
                    <a:cubicBezTo>
                      <a:pt x="111041" y="387932"/>
                      <a:pt x="111808" y="387996"/>
                      <a:pt x="111936" y="387996"/>
                    </a:cubicBezTo>
                    <a:cubicBezTo>
                      <a:pt x="121073" y="387996"/>
                      <a:pt x="129508" y="382756"/>
                      <a:pt x="133534" y="374513"/>
                    </a:cubicBezTo>
                    <a:lnTo>
                      <a:pt x="164652" y="311636"/>
                    </a:lnTo>
                    <a:lnTo>
                      <a:pt x="164716" y="311636"/>
                    </a:lnTo>
                    <a:lnTo>
                      <a:pt x="200628" y="354129"/>
                    </a:lnTo>
                    <a:lnTo>
                      <a:pt x="194046" y="446655"/>
                    </a:lnTo>
                    <a:cubicBezTo>
                      <a:pt x="193152" y="459882"/>
                      <a:pt x="203120" y="471384"/>
                      <a:pt x="216411" y="472407"/>
                    </a:cubicBezTo>
                    <a:cubicBezTo>
                      <a:pt x="216986" y="472471"/>
                      <a:pt x="217561" y="472471"/>
                      <a:pt x="218200" y="472471"/>
                    </a:cubicBezTo>
                    <a:cubicBezTo>
                      <a:pt x="230852" y="472407"/>
                      <a:pt x="241332" y="462694"/>
                      <a:pt x="242290" y="450042"/>
                    </a:cubicBezTo>
                    <a:lnTo>
                      <a:pt x="249511" y="347612"/>
                    </a:lnTo>
                    <a:cubicBezTo>
                      <a:pt x="249958" y="341349"/>
                      <a:pt x="247913" y="335087"/>
                      <a:pt x="243824" y="330295"/>
                    </a:cubicBezTo>
                    <a:lnTo>
                      <a:pt x="208615" y="288569"/>
                    </a:lnTo>
                    <a:close/>
                    <a:moveTo>
                      <a:pt x="217114" y="348698"/>
                    </a:moveTo>
                    <a:lnTo>
                      <a:pt x="176985" y="301285"/>
                    </a:lnTo>
                    <a:lnTo>
                      <a:pt x="172065" y="295598"/>
                    </a:lnTo>
                    <a:lnTo>
                      <a:pt x="154748" y="295598"/>
                    </a:lnTo>
                    <a:lnTo>
                      <a:pt x="119220" y="367420"/>
                    </a:lnTo>
                    <a:cubicBezTo>
                      <a:pt x="117942" y="370104"/>
                      <a:pt x="115194" y="371893"/>
                      <a:pt x="112511" y="371957"/>
                    </a:cubicBezTo>
                    <a:cubicBezTo>
                      <a:pt x="111808" y="371957"/>
                      <a:pt x="111169" y="371957"/>
                      <a:pt x="111041" y="371957"/>
                    </a:cubicBezTo>
                    <a:lnTo>
                      <a:pt x="23627" y="366206"/>
                    </a:lnTo>
                    <a:cubicBezTo>
                      <a:pt x="21454" y="366078"/>
                      <a:pt x="19473" y="365120"/>
                      <a:pt x="18068" y="363522"/>
                    </a:cubicBezTo>
                    <a:cubicBezTo>
                      <a:pt x="16662" y="361925"/>
                      <a:pt x="15895" y="359816"/>
                      <a:pt x="16087" y="357580"/>
                    </a:cubicBezTo>
                    <a:cubicBezTo>
                      <a:pt x="16342" y="353299"/>
                      <a:pt x="19921" y="349912"/>
                      <a:pt x="24202" y="349912"/>
                    </a:cubicBezTo>
                    <a:lnTo>
                      <a:pt x="107079" y="355343"/>
                    </a:lnTo>
                    <a:lnTo>
                      <a:pt x="128613" y="311892"/>
                    </a:lnTo>
                    <a:lnTo>
                      <a:pt x="128613" y="184477"/>
                    </a:lnTo>
                    <a:lnTo>
                      <a:pt x="79027" y="209398"/>
                    </a:lnTo>
                    <a:lnTo>
                      <a:pt x="76599" y="213998"/>
                    </a:lnTo>
                    <a:cubicBezTo>
                      <a:pt x="74554" y="218024"/>
                      <a:pt x="56024" y="253552"/>
                      <a:pt x="48611" y="270677"/>
                    </a:cubicBezTo>
                    <a:cubicBezTo>
                      <a:pt x="47909" y="272402"/>
                      <a:pt x="46694" y="273808"/>
                      <a:pt x="45289" y="274703"/>
                    </a:cubicBezTo>
                    <a:cubicBezTo>
                      <a:pt x="42924" y="276172"/>
                      <a:pt x="39410" y="276108"/>
                      <a:pt x="37621" y="275278"/>
                    </a:cubicBezTo>
                    <a:cubicBezTo>
                      <a:pt x="36918" y="274830"/>
                      <a:pt x="36343" y="274319"/>
                      <a:pt x="35959" y="273872"/>
                    </a:cubicBezTo>
                    <a:lnTo>
                      <a:pt x="35640" y="273488"/>
                    </a:lnTo>
                    <a:cubicBezTo>
                      <a:pt x="33403" y="270933"/>
                      <a:pt x="32637" y="267418"/>
                      <a:pt x="33659" y="264287"/>
                    </a:cubicBezTo>
                    <a:cubicBezTo>
                      <a:pt x="33851" y="263840"/>
                      <a:pt x="33915" y="263456"/>
                      <a:pt x="34042" y="263328"/>
                    </a:cubicBezTo>
                    <a:cubicBezTo>
                      <a:pt x="34234" y="262945"/>
                      <a:pt x="52318" y="226075"/>
                      <a:pt x="60944" y="210164"/>
                    </a:cubicBezTo>
                    <a:lnTo>
                      <a:pt x="62350" y="207608"/>
                    </a:lnTo>
                    <a:cubicBezTo>
                      <a:pt x="63180" y="206139"/>
                      <a:pt x="63692" y="205244"/>
                      <a:pt x="63947" y="204925"/>
                    </a:cubicBezTo>
                    <a:cubicBezTo>
                      <a:pt x="64203" y="204541"/>
                      <a:pt x="64586" y="203966"/>
                      <a:pt x="64970" y="203455"/>
                    </a:cubicBezTo>
                    <a:cubicBezTo>
                      <a:pt x="65736" y="202241"/>
                      <a:pt x="66695" y="200835"/>
                      <a:pt x="67909" y="199429"/>
                    </a:cubicBezTo>
                    <a:cubicBezTo>
                      <a:pt x="68676" y="198599"/>
                      <a:pt x="69379" y="197960"/>
                      <a:pt x="69954" y="197448"/>
                    </a:cubicBezTo>
                    <a:lnTo>
                      <a:pt x="71807" y="196043"/>
                    </a:lnTo>
                    <a:cubicBezTo>
                      <a:pt x="71807" y="196043"/>
                      <a:pt x="72190" y="195787"/>
                      <a:pt x="72318" y="195723"/>
                    </a:cubicBezTo>
                    <a:cubicBezTo>
                      <a:pt x="73788" y="194701"/>
                      <a:pt x="75130" y="193998"/>
                      <a:pt x="76535" y="193423"/>
                    </a:cubicBezTo>
                    <a:cubicBezTo>
                      <a:pt x="85545" y="189397"/>
                      <a:pt x="103884" y="180835"/>
                      <a:pt x="116281" y="174828"/>
                    </a:cubicBezTo>
                    <a:cubicBezTo>
                      <a:pt x="117239" y="174445"/>
                      <a:pt x="118198" y="173997"/>
                      <a:pt x="119092" y="173550"/>
                    </a:cubicBezTo>
                    <a:lnTo>
                      <a:pt x="125546" y="170419"/>
                    </a:lnTo>
                    <a:cubicBezTo>
                      <a:pt x="127271" y="169588"/>
                      <a:pt x="128613" y="168949"/>
                      <a:pt x="129444" y="168438"/>
                    </a:cubicBezTo>
                    <a:cubicBezTo>
                      <a:pt x="134109" y="166074"/>
                      <a:pt x="138901" y="164413"/>
                      <a:pt x="139732" y="164157"/>
                    </a:cubicBezTo>
                    <a:cubicBezTo>
                      <a:pt x="150083" y="161665"/>
                      <a:pt x="161202" y="159492"/>
                      <a:pt x="163566" y="159428"/>
                    </a:cubicBezTo>
                    <a:lnTo>
                      <a:pt x="170595" y="159237"/>
                    </a:lnTo>
                    <a:lnTo>
                      <a:pt x="183119" y="144923"/>
                    </a:lnTo>
                    <a:lnTo>
                      <a:pt x="184270" y="143454"/>
                    </a:lnTo>
                    <a:cubicBezTo>
                      <a:pt x="187464" y="138853"/>
                      <a:pt x="190340" y="134188"/>
                      <a:pt x="193088" y="129332"/>
                    </a:cubicBezTo>
                    <a:cubicBezTo>
                      <a:pt x="210916" y="97510"/>
                      <a:pt x="219095" y="61471"/>
                      <a:pt x="216666" y="25240"/>
                    </a:cubicBezTo>
                    <a:lnTo>
                      <a:pt x="216666" y="24665"/>
                    </a:lnTo>
                    <a:cubicBezTo>
                      <a:pt x="216475" y="22493"/>
                      <a:pt x="217242" y="20384"/>
                      <a:pt x="218711" y="18786"/>
                    </a:cubicBezTo>
                    <a:cubicBezTo>
                      <a:pt x="220181" y="17189"/>
                      <a:pt x="222162" y="16230"/>
                      <a:pt x="224271" y="16103"/>
                    </a:cubicBezTo>
                    <a:lnTo>
                      <a:pt x="224782" y="16103"/>
                    </a:lnTo>
                    <a:cubicBezTo>
                      <a:pt x="229127" y="16103"/>
                      <a:pt x="232705" y="19553"/>
                      <a:pt x="232897" y="23962"/>
                    </a:cubicBezTo>
                    <a:cubicBezTo>
                      <a:pt x="234622" y="50608"/>
                      <a:pt x="231236" y="76935"/>
                      <a:pt x="222801" y="102303"/>
                    </a:cubicBezTo>
                    <a:cubicBezTo>
                      <a:pt x="217306" y="118789"/>
                      <a:pt x="209638" y="134699"/>
                      <a:pt x="199989" y="149524"/>
                    </a:cubicBezTo>
                    <a:cubicBezTo>
                      <a:pt x="199478" y="150227"/>
                      <a:pt x="199030" y="150930"/>
                      <a:pt x="198519" y="151697"/>
                    </a:cubicBezTo>
                    <a:lnTo>
                      <a:pt x="197752" y="152847"/>
                    </a:lnTo>
                    <a:cubicBezTo>
                      <a:pt x="197241" y="153678"/>
                      <a:pt x="196730" y="154508"/>
                      <a:pt x="195963" y="155467"/>
                    </a:cubicBezTo>
                    <a:lnTo>
                      <a:pt x="192896" y="159684"/>
                    </a:lnTo>
                    <a:lnTo>
                      <a:pt x="192896" y="294575"/>
                    </a:lnTo>
                    <a:lnTo>
                      <a:pt x="232002" y="340838"/>
                    </a:lnTo>
                    <a:cubicBezTo>
                      <a:pt x="233344" y="342436"/>
                      <a:pt x="233983" y="344417"/>
                      <a:pt x="233855" y="346589"/>
                    </a:cubicBezTo>
                    <a:lnTo>
                      <a:pt x="226635" y="448956"/>
                    </a:lnTo>
                    <a:cubicBezTo>
                      <a:pt x="226315" y="453237"/>
                      <a:pt x="222801" y="456496"/>
                      <a:pt x="218519" y="456496"/>
                    </a:cubicBezTo>
                    <a:cubicBezTo>
                      <a:pt x="218392" y="456496"/>
                      <a:pt x="218264" y="456496"/>
                      <a:pt x="218136" y="456496"/>
                    </a:cubicBezTo>
                    <a:lnTo>
                      <a:pt x="217944" y="456496"/>
                    </a:lnTo>
                    <a:cubicBezTo>
                      <a:pt x="213472" y="456112"/>
                      <a:pt x="210021" y="452214"/>
                      <a:pt x="210404" y="447805"/>
                    </a:cubicBezTo>
                    <a:lnTo>
                      <a:pt x="217433" y="348762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78A8AA9E-4A0D-5952-0FE2-B04F56BD2C10}"/>
                  </a:ext>
                </a:extLst>
              </p:cNvPr>
              <p:cNvSpPr/>
              <p:nvPr/>
            </p:nvSpPr>
            <p:spPr>
              <a:xfrm>
                <a:off x="2977909" y="436796"/>
                <a:ext cx="64245" cy="71822"/>
              </a:xfrm>
              <a:custGeom>
                <a:avLst/>
                <a:gdLst>
                  <a:gd name="connsiteX0" fmla="*/ 5975 w 64245"/>
                  <a:gd name="connsiteY0" fmla="*/ 51950 h 71822"/>
                  <a:gd name="connsiteX1" fmla="*/ 34283 w 64245"/>
                  <a:gd name="connsiteY1" fmla="*/ 71823 h 71822"/>
                  <a:gd name="connsiteX2" fmla="*/ 38820 w 64245"/>
                  <a:gd name="connsiteY2" fmla="*/ 71439 h 71822"/>
                  <a:gd name="connsiteX3" fmla="*/ 42717 w 64245"/>
                  <a:gd name="connsiteY3" fmla="*/ 70545 h 71822"/>
                  <a:gd name="connsiteX4" fmla="*/ 42909 w 64245"/>
                  <a:gd name="connsiteY4" fmla="*/ 70545 h 71822"/>
                  <a:gd name="connsiteX5" fmla="*/ 44379 w 64245"/>
                  <a:gd name="connsiteY5" fmla="*/ 70097 h 71822"/>
                  <a:gd name="connsiteX6" fmla="*/ 62526 w 64245"/>
                  <a:gd name="connsiteY6" fmla="*/ 31694 h 71822"/>
                  <a:gd name="connsiteX7" fmla="*/ 58245 w 64245"/>
                  <a:gd name="connsiteY7" fmla="*/ 19809 h 71822"/>
                  <a:gd name="connsiteX8" fmla="*/ 42845 w 64245"/>
                  <a:gd name="connsiteY8" fmla="*/ 2875 h 71822"/>
                  <a:gd name="connsiteX9" fmla="*/ 30002 w 64245"/>
                  <a:gd name="connsiteY9" fmla="*/ 0 h 71822"/>
                  <a:gd name="connsiteX10" fmla="*/ 19905 w 64245"/>
                  <a:gd name="connsiteY10" fmla="*/ 1725 h 71822"/>
                  <a:gd name="connsiteX11" fmla="*/ 1758 w 64245"/>
                  <a:gd name="connsiteY11" fmla="*/ 40129 h 71822"/>
                  <a:gd name="connsiteX12" fmla="*/ 5975 w 64245"/>
                  <a:gd name="connsiteY12" fmla="*/ 51950 h 71822"/>
                  <a:gd name="connsiteX13" fmla="*/ 34283 w 64245"/>
                  <a:gd name="connsiteY13" fmla="*/ 55848 h 71822"/>
                  <a:gd name="connsiteX14" fmla="*/ 20992 w 64245"/>
                  <a:gd name="connsiteY14" fmla="*/ 46646 h 71822"/>
                  <a:gd name="connsiteX15" fmla="*/ 16774 w 64245"/>
                  <a:gd name="connsiteY15" fmla="*/ 34761 h 71822"/>
                  <a:gd name="connsiteX16" fmla="*/ 25209 w 64245"/>
                  <a:gd name="connsiteY16" fmla="*/ 16805 h 71822"/>
                  <a:gd name="connsiteX17" fmla="*/ 30002 w 64245"/>
                  <a:gd name="connsiteY17" fmla="*/ 15975 h 71822"/>
                  <a:gd name="connsiteX18" fmla="*/ 35944 w 64245"/>
                  <a:gd name="connsiteY18" fmla="*/ 17381 h 71822"/>
                  <a:gd name="connsiteX19" fmla="*/ 43165 w 64245"/>
                  <a:gd name="connsiteY19" fmla="*/ 25304 h 71822"/>
                  <a:gd name="connsiteX20" fmla="*/ 47446 w 64245"/>
                  <a:gd name="connsiteY20" fmla="*/ 37062 h 71822"/>
                  <a:gd name="connsiteX21" fmla="*/ 38947 w 64245"/>
                  <a:gd name="connsiteY21" fmla="*/ 55081 h 71822"/>
                  <a:gd name="connsiteX22" fmla="*/ 34283 w 64245"/>
                  <a:gd name="connsiteY22" fmla="*/ 55912 h 7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4245" h="71822">
                    <a:moveTo>
                      <a:pt x="5975" y="51950"/>
                    </a:moveTo>
                    <a:cubicBezTo>
                      <a:pt x="10320" y="63899"/>
                      <a:pt x="21694" y="71823"/>
                      <a:pt x="34283" y="71823"/>
                    </a:cubicBezTo>
                    <a:cubicBezTo>
                      <a:pt x="35816" y="71823"/>
                      <a:pt x="37350" y="71695"/>
                      <a:pt x="38820" y="71439"/>
                    </a:cubicBezTo>
                    <a:cubicBezTo>
                      <a:pt x="40161" y="71248"/>
                      <a:pt x="41439" y="70992"/>
                      <a:pt x="42717" y="70545"/>
                    </a:cubicBezTo>
                    <a:cubicBezTo>
                      <a:pt x="42781" y="70545"/>
                      <a:pt x="42845" y="70545"/>
                      <a:pt x="42909" y="70545"/>
                    </a:cubicBezTo>
                    <a:cubicBezTo>
                      <a:pt x="43420" y="70417"/>
                      <a:pt x="43868" y="70289"/>
                      <a:pt x="44379" y="70097"/>
                    </a:cubicBezTo>
                    <a:cubicBezTo>
                      <a:pt x="59906" y="64410"/>
                      <a:pt x="68021" y="47285"/>
                      <a:pt x="62526" y="31694"/>
                    </a:cubicBezTo>
                    <a:lnTo>
                      <a:pt x="58245" y="19809"/>
                    </a:lnTo>
                    <a:cubicBezTo>
                      <a:pt x="55561" y="12333"/>
                      <a:pt x="50130" y="6326"/>
                      <a:pt x="42845" y="2875"/>
                    </a:cubicBezTo>
                    <a:cubicBezTo>
                      <a:pt x="38820" y="958"/>
                      <a:pt x="34538" y="0"/>
                      <a:pt x="30002" y="0"/>
                    </a:cubicBezTo>
                    <a:cubicBezTo>
                      <a:pt x="26551" y="0"/>
                      <a:pt x="23164" y="575"/>
                      <a:pt x="19905" y="1725"/>
                    </a:cubicBezTo>
                    <a:cubicBezTo>
                      <a:pt x="4250" y="7412"/>
                      <a:pt x="-3801" y="24665"/>
                      <a:pt x="1758" y="40129"/>
                    </a:cubicBezTo>
                    <a:lnTo>
                      <a:pt x="5975" y="51950"/>
                    </a:lnTo>
                    <a:close/>
                    <a:moveTo>
                      <a:pt x="34283" y="55848"/>
                    </a:moveTo>
                    <a:cubicBezTo>
                      <a:pt x="28404" y="55848"/>
                      <a:pt x="23037" y="52142"/>
                      <a:pt x="20992" y="46646"/>
                    </a:cubicBezTo>
                    <a:lnTo>
                      <a:pt x="16774" y="34761"/>
                    </a:lnTo>
                    <a:cubicBezTo>
                      <a:pt x="14154" y="27477"/>
                      <a:pt x="17924" y="19425"/>
                      <a:pt x="25209" y="16805"/>
                    </a:cubicBezTo>
                    <a:cubicBezTo>
                      <a:pt x="26743" y="16294"/>
                      <a:pt x="28340" y="15975"/>
                      <a:pt x="30002" y="15975"/>
                    </a:cubicBezTo>
                    <a:cubicBezTo>
                      <a:pt x="32046" y="15975"/>
                      <a:pt x="34091" y="16422"/>
                      <a:pt x="35944" y="17381"/>
                    </a:cubicBezTo>
                    <a:cubicBezTo>
                      <a:pt x="39395" y="18978"/>
                      <a:pt x="41951" y="21726"/>
                      <a:pt x="43165" y="25304"/>
                    </a:cubicBezTo>
                    <a:lnTo>
                      <a:pt x="47446" y="37062"/>
                    </a:lnTo>
                    <a:cubicBezTo>
                      <a:pt x="50002" y="44346"/>
                      <a:pt x="46168" y="52461"/>
                      <a:pt x="38947" y="55081"/>
                    </a:cubicBezTo>
                    <a:cubicBezTo>
                      <a:pt x="37478" y="55592"/>
                      <a:pt x="35880" y="55912"/>
                      <a:pt x="34283" y="559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4" name="Grafik 5">
              <a:extLst>
                <a:ext uri="{FF2B5EF4-FFF2-40B4-BE49-F238E27FC236}">
                  <a16:creationId xmlns:a16="http://schemas.microsoft.com/office/drawing/2014/main" id="{5A67FFCA-2C24-73A3-2733-F8DE7FFC95AC}"/>
                </a:ext>
              </a:extLst>
            </p:cNvPr>
            <p:cNvGrpSpPr/>
            <p:nvPr/>
          </p:nvGrpSpPr>
          <p:grpSpPr>
            <a:xfrm>
              <a:off x="1638098" y="369358"/>
              <a:ext cx="497127" cy="350064"/>
              <a:chOff x="1638098" y="369358"/>
              <a:chExt cx="497127" cy="350064"/>
            </a:xfrm>
            <a:solidFill>
              <a:srgbClr val="FFFFFF"/>
            </a:solidFill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A30EE3B8-0CD9-226E-109D-CF04DD04C3C0}"/>
                  </a:ext>
                </a:extLst>
              </p:cNvPr>
              <p:cNvSpPr/>
              <p:nvPr/>
            </p:nvSpPr>
            <p:spPr>
              <a:xfrm>
                <a:off x="1638098" y="369358"/>
                <a:ext cx="239626" cy="350064"/>
              </a:xfrm>
              <a:custGeom>
                <a:avLst/>
                <a:gdLst>
                  <a:gd name="connsiteX0" fmla="*/ 206271 w 239626"/>
                  <a:gd name="connsiteY0" fmla="*/ 245270 h 350064"/>
                  <a:gd name="connsiteX1" fmla="*/ 199562 w 239626"/>
                  <a:gd name="connsiteY1" fmla="*/ 223608 h 350064"/>
                  <a:gd name="connsiteX2" fmla="*/ 199562 w 239626"/>
                  <a:gd name="connsiteY2" fmla="*/ 223033 h 350064"/>
                  <a:gd name="connsiteX3" fmla="*/ 193683 w 239626"/>
                  <a:gd name="connsiteY3" fmla="*/ 176323 h 350064"/>
                  <a:gd name="connsiteX4" fmla="*/ 171254 w 239626"/>
                  <a:gd name="connsiteY4" fmla="*/ 151849 h 350064"/>
                  <a:gd name="connsiteX5" fmla="*/ 117515 w 239626"/>
                  <a:gd name="connsiteY5" fmla="*/ 109676 h 350064"/>
                  <a:gd name="connsiteX6" fmla="*/ 116620 w 239626"/>
                  <a:gd name="connsiteY6" fmla="*/ 108909 h 350064"/>
                  <a:gd name="connsiteX7" fmla="*/ 90038 w 239626"/>
                  <a:gd name="connsiteY7" fmla="*/ 97279 h 350064"/>
                  <a:gd name="connsiteX8" fmla="*/ 84415 w 239626"/>
                  <a:gd name="connsiteY8" fmla="*/ 98557 h 350064"/>
                  <a:gd name="connsiteX9" fmla="*/ 47290 w 239626"/>
                  <a:gd name="connsiteY9" fmla="*/ 14338 h 350064"/>
                  <a:gd name="connsiteX10" fmla="*/ 19430 w 239626"/>
                  <a:gd name="connsiteY10" fmla="*/ 408 h 350064"/>
                  <a:gd name="connsiteX11" fmla="*/ 452 w 239626"/>
                  <a:gd name="connsiteY11" fmla="*/ 27821 h 350064"/>
                  <a:gd name="connsiteX12" fmla="*/ 12976 w 239626"/>
                  <a:gd name="connsiteY12" fmla="*/ 81560 h 350064"/>
                  <a:gd name="connsiteX13" fmla="*/ 23966 w 239626"/>
                  <a:gd name="connsiteY13" fmla="*/ 127567 h 350064"/>
                  <a:gd name="connsiteX14" fmla="*/ 50996 w 239626"/>
                  <a:gd name="connsiteY14" fmla="*/ 179134 h 350064"/>
                  <a:gd name="connsiteX15" fmla="*/ 115087 w 239626"/>
                  <a:gd name="connsiteY15" fmla="*/ 241819 h 350064"/>
                  <a:gd name="connsiteX16" fmla="*/ 124736 w 239626"/>
                  <a:gd name="connsiteY16" fmla="*/ 269743 h 350064"/>
                  <a:gd name="connsiteX17" fmla="*/ 115215 w 239626"/>
                  <a:gd name="connsiteY17" fmla="*/ 272619 h 350064"/>
                  <a:gd name="connsiteX18" fmla="*/ 138346 w 239626"/>
                  <a:gd name="connsiteY18" fmla="*/ 350064 h 350064"/>
                  <a:gd name="connsiteX19" fmla="*/ 239626 w 239626"/>
                  <a:gd name="connsiteY19" fmla="*/ 319712 h 350064"/>
                  <a:gd name="connsiteX20" fmla="*/ 216431 w 239626"/>
                  <a:gd name="connsiteY20" fmla="*/ 242266 h 350064"/>
                  <a:gd name="connsiteX21" fmla="*/ 206207 w 239626"/>
                  <a:gd name="connsiteY21" fmla="*/ 245334 h 350064"/>
                  <a:gd name="connsiteX22" fmla="*/ 68312 w 239626"/>
                  <a:gd name="connsiteY22" fmla="*/ 123670 h 350064"/>
                  <a:gd name="connsiteX23" fmla="*/ 78600 w 239626"/>
                  <a:gd name="connsiteY23" fmla="*/ 142392 h 350064"/>
                  <a:gd name="connsiteX24" fmla="*/ 126461 w 239626"/>
                  <a:gd name="connsiteY24" fmla="*/ 182010 h 350064"/>
                  <a:gd name="connsiteX25" fmla="*/ 128825 w 239626"/>
                  <a:gd name="connsiteY25" fmla="*/ 183990 h 350064"/>
                  <a:gd name="connsiteX26" fmla="*/ 140327 w 239626"/>
                  <a:gd name="connsiteY26" fmla="*/ 170124 h 350064"/>
                  <a:gd name="connsiteX27" fmla="*/ 134065 w 239626"/>
                  <a:gd name="connsiteY27" fmla="*/ 164948 h 350064"/>
                  <a:gd name="connsiteX28" fmla="*/ 89910 w 239626"/>
                  <a:gd name="connsiteY28" fmla="*/ 128398 h 350064"/>
                  <a:gd name="connsiteX29" fmla="*/ 86268 w 239626"/>
                  <a:gd name="connsiteY29" fmla="*/ 121880 h 350064"/>
                  <a:gd name="connsiteX30" fmla="*/ 87610 w 239626"/>
                  <a:gd name="connsiteY30" fmla="*/ 117983 h 350064"/>
                  <a:gd name="connsiteX31" fmla="*/ 91700 w 239626"/>
                  <a:gd name="connsiteY31" fmla="*/ 115299 h 350064"/>
                  <a:gd name="connsiteX32" fmla="*/ 105055 w 239626"/>
                  <a:gd name="connsiteY32" fmla="*/ 122711 h 350064"/>
                  <a:gd name="connsiteX33" fmla="*/ 105949 w 239626"/>
                  <a:gd name="connsiteY33" fmla="*/ 123478 h 350064"/>
                  <a:gd name="connsiteX34" fmla="*/ 160455 w 239626"/>
                  <a:gd name="connsiteY34" fmla="*/ 166290 h 350064"/>
                  <a:gd name="connsiteX35" fmla="*/ 160839 w 239626"/>
                  <a:gd name="connsiteY35" fmla="*/ 166610 h 350064"/>
                  <a:gd name="connsiteX36" fmla="*/ 177580 w 239626"/>
                  <a:gd name="connsiteY36" fmla="*/ 184438 h 350064"/>
                  <a:gd name="connsiteX37" fmla="*/ 181606 w 239626"/>
                  <a:gd name="connsiteY37" fmla="*/ 222649 h 350064"/>
                  <a:gd name="connsiteX38" fmla="*/ 181606 w 239626"/>
                  <a:gd name="connsiteY38" fmla="*/ 226164 h 350064"/>
                  <a:gd name="connsiteX39" fmla="*/ 189018 w 239626"/>
                  <a:gd name="connsiteY39" fmla="*/ 250509 h 350064"/>
                  <a:gd name="connsiteX40" fmla="*/ 142052 w 239626"/>
                  <a:gd name="connsiteY40" fmla="*/ 264567 h 350064"/>
                  <a:gd name="connsiteX41" fmla="*/ 130934 w 239626"/>
                  <a:gd name="connsiteY41" fmla="*/ 232106 h 350064"/>
                  <a:gd name="connsiteX42" fmla="*/ 129400 w 239626"/>
                  <a:gd name="connsiteY42" fmla="*/ 230573 h 350064"/>
                  <a:gd name="connsiteX43" fmla="*/ 63776 w 239626"/>
                  <a:gd name="connsiteY43" fmla="*/ 166354 h 350064"/>
                  <a:gd name="connsiteX44" fmla="*/ 41539 w 239626"/>
                  <a:gd name="connsiteY44" fmla="*/ 123606 h 350064"/>
                  <a:gd name="connsiteX45" fmla="*/ 30484 w 239626"/>
                  <a:gd name="connsiteY45" fmla="*/ 77215 h 350064"/>
                  <a:gd name="connsiteX46" fmla="*/ 18216 w 239626"/>
                  <a:gd name="connsiteY46" fmla="*/ 24754 h 350064"/>
                  <a:gd name="connsiteX47" fmla="*/ 22625 w 239626"/>
                  <a:gd name="connsiteY47" fmla="*/ 18172 h 350064"/>
                  <a:gd name="connsiteX48" fmla="*/ 30868 w 239626"/>
                  <a:gd name="connsiteY48" fmla="*/ 21814 h 350064"/>
                  <a:gd name="connsiteX49" fmla="*/ 70421 w 239626"/>
                  <a:gd name="connsiteY49" fmla="*/ 111529 h 350064"/>
                  <a:gd name="connsiteX50" fmla="*/ 68249 w 239626"/>
                  <a:gd name="connsiteY50" fmla="*/ 123670 h 350064"/>
                  <a:gd name="connsiteX51" fmla="*/ 150487 w 239626"/>
                  <a:gd name="connsiteY51" fmla="*/ 327572 h 350064"/>
                  <a:gd name="connsiteX52" fmla="*/ 137643 w 239626"/>
                  <a:gd name="connsiteY52" fmla="*/ 284632 h 350064"/>
                  <a:gd name="connsiteX53" fmla="*/ 204418 w 239626"/>
                  <a:gd name="connsiteY53" fmla="*/ 264631 h 350064"/>
                  <a:gd name="connsiteX54" fmla="*/ 217262 w 239626"/>
                  <a:gd name="connsiteY54" fmla="*/ 307571 h 350064"/>
                  <a:gd name="connsiteX55" fmla="*/ 150487 w 239626"/>
                  <a:gd name="connsiteY55" fmla="*/ 327572 h 350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39626" h="350064">
                    <a:moveTo>
                      <a:pt x="206271" y="245270"/>
                    </a:moveTo>
                    <a:lnTo>
                      <a:pt x="199562" y="223608"/>
                    </a:lnTo>
                    <a:lnTo>
                      <a:pt x="199562" y="223033"/>
                    </a:lnTo>
                    <a:cubicBezTo>
                      <a:pt x="200009" y="205972"/>
                      <a:pt x="200456" y="189805"/>
                      <a:pt x="193683" y="176323"/>
                    </a:cubicBezTo>
                    <a:cubicBezTo>
                      <a:pt x="187165" y="163159"/>
                      <a:pt x="173746" y="153574"/>
                      <a:pt x="171254" y="151849"/>
                    </a:cubicBezTo>
                    <a:cubicBezTo>
                      <a:pt x="170807" y="151466"/>
                      <a:pt x="123394" y="114596"/>
                      <a:pt x="117515" y="109676"/>
                    </a:cubicBezTo>
                    <a:lnTo>
                      <a:pt x="116620" y="108909"/>
                    </a:lnTo>
                    <a:cubicBezTo>
                      <a:pt x="111381" y="104500"/>
                      <a:pt x="101732" y="96193"/>
                      <a:pt x="90038" y="97279"/>
                    </a:cubicBezTo>
                    <a:cubicBezTo>
                      <a:pt x="88057" y="97471"/>
                      <a:pt x="86204" y="97918"/>
                      <a:pt x="84415" y="98557"/>
                    </a:cubicBezTo>
                    <a:cubicBezTo>
                      <a:pt x="72210" y="70761"/>
                      <a:pt x="50293" y="21048"/>
                      <a:pt x="47290" y="14338"/>
                    </a:cubicBezTo>
                    <a:cubicBezTo>
                      <a:pt x="41794" y="2261"/>
                      <a:pt x="29014" y="-1317"/>
                      <a:pt x="19430" y="408"/>
                    </a:cubicBezTo>
                    <a:cubicBezTo>
                      <a:pt x="7928" y="2517"/>
                      <a:pt x="-2296" y="12549"/>
                      <a:pt x="452" y="27821"/>
                    </a:cubicBezTo>
                    <a:cubicBezTo>
                      <a:pt x="1666" y="34914"/>
                      <a:pt x="7161" y="57598"/>
                      <a:pt x="12976" y="81560"/>
                    </a:cubicBezTo>
                    <a:cubicBezTo>
                      <a:pt x="16618" y="96704"/>
                      <a:pt x="21219" y="115491"/>
                      <a:pt x="23966" y="127567"/>
                    </a:cubicBezTo>
                    <a:cubicBezTo>
                      <a:pt x="30484" y="156769"/>
                      <a:pt x="39302" y="167313"/>
                      <a:pt x="50996" y="179134"/>
                    </a:cubicBezTo>
                    <a:cubicBezTo>
                      <a:pt x="56875" y="185013"/>
                      <a:pt x="79623" y="207250"/>
                      <a:pt x="115087" y="241819"/>
                    </a:cubicBezTo>
                    <a:lnTo>
                      <a:pt x="124736" y="269743"/>
                    </a:lnTo>
                    <a:lnTo>
                      <a:pt x="115215" y="272619"/>
                    </a:lnTo>
                    <a:lnTo>
                      <a:pt x="138346" y="350064"/>
                    </a:lnTo>
                    <a:lnTo>
                      <a:pt x="239626" y="319712"/>
                    </a:lnTo>
                    <a:lnTo>
                      <a:pt x="216431" y="242266"/>
                    </a:lnTo>
                    <a:lnTo>
                      <a:pt x="206207" y="245334"/>
                    </a:lnTo>
                    <a:close/>
                    <a:moveTo>
                      <a:pt x="68312" y="123670"/>
                    </a:moveTo>
                    <a:cubicBezTo>
                      <a:pt x="69143" y="132040"/>
                      <a:pt x="74383" y="139005"/>
                      <a:pt x="78600" y="142392"/>
                    </a:cubicBezTo>
                    <a:cubicBezTo>
                      <a:pt x="82882" y="145843"/>
                      <a:pt x="126141" y="181754"/>
                      <a:pt x="126461" y="182010"/>
                    </a:cubicBezTo>
                    <a:lnTo>
                      <a:pt x="128825" y="183990"/>
                    </a:lnTo>
                    <a:lnTo>
                      <a:pt x="140327" y="170124"/>
                    </a:lnTo>
                    <a:lnTo>
                      <a:pt x="134065" y="164948"/>
                    </a:lnTo>
                    <a:cubicBezTo>
                      <a:pt x="122946" y="155747"/>
                      <a:pt x="93489" y="131274"/>
                      <a:pt x="89910" y="128398"/>
                    </a:cubicBezTo>
                    <a:cubicBezTo>
                      <a:pt x="88569" y="127312"/>
                      <a:pt x="86524" y="124564"/>
                      <a:pt x="86268" y="121880"/>
                    </a:cubicBezTo>
                    <a:cubicBezTo>
                      <a:pt x="86140" y="120475"/>
                      <a:pt x="86524" y="119261"/>
                      <a:pt x="87610" y="117983"/>
                    </a:cubicBezTo>
                    <a:cubicBezTo>
                      <a:pt x="89016" y="116257"/>
                      <a:pt x="90358" y="115363"/>
                      <a:pt x="91700" y="115299"/>
                    </a:cubicBezTo>
                    <a:cubicBezTo>
                      <a:pt x="95917" y="114915"/>
                      <a:pt x="102051" y="120219"/>
                      <a:pt x="105055" y="122711"/>
                    </a:cubicBezTo>
                    <a:lnTo>
                      <a:pt x="105949" y="123478"/>
                    </a:lnTo>
                    <a:cubicBezTo>
                      <a:pt x="112275" y="128782"/>
                      <a:pt x="159880" y="165843"/>
                      <a:pt x="160455" y="166290"/>
                    </a:cubicBezTo>
                    <a:lnTo>
                      <a:pt x="160839" y="166610"/>
                    </a:lnTo>
                    <a:cubicBezTo>
                      <a:pt x="161350" y="166929"/>
                      <a:pt x="172852" y="174853"/>
                      <a:pt x="177580" y="184438"/>
                    </a:cubicBezTo>
                    <a:cubicBezTo>
                      <a:pt x="182373" y="193959"/>
                      <a:pt x="181989" y="207889"/>
                      <a:pt x="181606" y="222649"/>
                    </a:cubicBezTo>
                    <a:lnTo>
                      <a:pt x="181606" y="226164"/>
                    </a:lnTo>
                    <a:cubicBezTo>
                      <a:pt x="181606" y="226164"/>
                      <a:pt x="189018" y="250509"/>
                      <a:pt x="189018" y="250509"/>
                    </a:cubicBezTo>
                    <a:lnTo>
                      <a:pt x="142052" y="264567"/>
                    </a:lnTo>
                    <a:lnTo>
                      <a:pt x="130934" y="232106"/>
                    </a:lnTo>
                    <a:lnTo>
                      <a:pt x="129400" y="230573"/>
                    </a:lnTo>
                    <a:cubicBezTo>
                      <a:pt x="128953" y="230190"/>
                      <a:pt x="73872" y="176514"/>
                      <a:pt x="63776" y="166354"/>
                    </a:cubicBezTo>
                    <a:cubicBezTo>
                      <a:pt x="55021" y="157536"/>
                      <a:pt x="47417" y="149996"/>
                      <a:pt x="41539" y="123606"/>
                    </a:cubicBezTo>
                    <a:cubicBezTo>
                      <a:pt x="38855" y="111720"/>
                      <a:pt x="34638" y="94276"/>
                      <a:pt x="30484" y="77215"/>
                    </a:cubicBezTo>
                    <a:cubicBezTo>
                      <a:pt x="24989" y="54658"/>
                      <a:pt x="19366" y="31335"/>
                      <a:pt x="18216" y="24754"/>
                    </a:cubicBezTo>
                    <a:cubicBezTo>
                      <a:pt x="17960" y="23220"/>
                      <a:pt x="17193" y="19131"/>
                      <a:pt x="22625" y="18172"/>
                    </a:cubicBezTo>
                    <a:cubicBezTo>
                      <a:pt x="22880" y="18172"/>
                      <a:pt x="28759" y="17214"/>
                      <a:pt x="30868" y="21814"/>
                    </a:cubicBezTo>
                    <a:cubicBezTo>
                      <a:pt x="34318" y="29354"/>
                      <a:pt x="63903" y="96704"/>
                      <a:pt x="70421" y="111529"/>
                    </a:cubicBezTo>
                    <a:cubicBezTo>
                      <a:pt x="68568" y="115299"/>
                      <a:pt x="67865" y="119452"/>
                      <a:pt x="68249" y="123670"/>
                    </a:cubicBezTo>
                    <a:close/>
                    <a:moveTo>
                      <a:pt x="150487" y="327572"/>
                    </a:moveTo>
                    <a:lnTo>
                      <a:pt x="137643" y="284632"/>
                    </a:lnTo>
                    <a:lnTo>
                      <a:pt x="204418" y="264631"/>
                    </a:lnTo>
                    <a:lnTo>
                      <a:pt x="217262" y="307571"/>
                    </a:lnTo>
                    <a:lnTo>
                      <a:pt x="150487" y="327572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F60F2FFE-0D30-1FBC-B4B5-B34585A64F2E}"/>
                  </a:ext>
                </a:extLst>
              </p:cNvPr>
              <p:cNvSpPr/>
              <p:nvPr/>
            </p:nvSpPr>
            <p:spPr>
              <a:xfrm>
                <a:off x="1895680" y="369358"/>
                <a:ext cx="239545" cy="350064"/>
              </a:xfrm>
              <a:custGeom>
                <a:avLst/>
                <a:gdLst>
                  <a:gd name="connsiteX0" fmla="*/ 220261 w 239545"/>
                  <a:gd name="connsiteY0" fmla="*/ 408 h 350064"/>
                  <a:gd name="connsiteX1" fmla="*/ 192401 w 239545"/>
                  <a:gd name="connsiteY1" fmla="*/ 14338 h 350064"/>
                  <a:gd name="connsiteX2" fmla="*/ 155275 w 239545"/>
                  <a:gd name="connsiteY2" fmla="*/ 98557 h 350064"/>
                  <a:gd name="connsiteX3" fmla="*/ 149652 w 239545"/>
                  <a:gd name="connsiteY3" fmla="*/ 97279 h 350064"/>
                  <a:gd name="connsiteX4" fmla="*/ 123006 w 239545"/>
                  <a:gd name="connsiteY4" fmla="*/ 108973 h 350064"/>
                  <a:gd name="connsiteX5" fmla="*/ 122175 w 239545"/>
                  <a:gd name="connsiteY5" fmla="*/ 109676 h 350064"/>
                  <a:gd name="connsiteX6" fmla="*/ 68564 w 239545"/>
                  <a:gd name="connsiteY6" fmla="*/ 151785 h 350064"/>
                  <a:gd name="connsiteX7" fmla="*/ 46007 w 239545"/>
                  <a:gd name="connsiteY7" fmla="*/ 176323 h 350064"/>
                  <a:gd name="connsiteX8" fmla="*/ 40065 w 239545"/>
                  <a:gd name="connsiteY8" fmla="*/ 223097 h 350064"/>
                  <a:gd name="connsiteX9" fmla="*/ 40065 w 239545"/>
                  <a:gd name="connsiteY9" fmla="*/ 223672 h 350064"/>
                  <a:gd name="connsiteX10" fmla="*/ 33419 w 239545"/>
                  <a:gd name="connsiteY10" fmla="*/ 245334 h 350064"/>
                  <a:gd name="connsiteX11" fmla="*/ 23195 w 239545"/>
                  <a:gd name="connsiteY11" fmla="*/ 242266 h 350064"/>
                  <a:gd name="connsiteX12" fmla="*/ 0 w 239545"/>
                  <a:gd name="connsiteY12" fmla="*/ 319712 h 350064"/>
                  <a:gd name="connsiteX13" fmla="*/ 101280 w 239545"/>
                  <a:gd name="connsiteY13" fmla="*/ 350064 h 350064"/>
                  <a:gd name="connsiteX14" fmla="*/ 124412 w 239545"/>
                  <a:gd name="connsiteY14" fmla="*/ 272619 h 350064"/>
                  <a:gd name="connsiteX15" fmla="*/ 114827 w 239545"/>
                  <a:gd name="connsiteY15" fmla="*/ 269743 h 350064"/>
                  <a:gd name="connsiteX16" fmla="*/ 124284 w 239545"/>
                  <a:gd name="connsiteY16" fmla="*/ 242011 h 350064"/>
                  <a:gd name="connsiteX17" fmla="*/ 188567 w 239545"/>
                  <a:gd name="connsiteY17" fmla="*/ 179134 h 350064"/>
                  <a:gd name="connsiteX18" fmla="*/ 215596 w 239545"/>
                  <a:gd name="connsiteY18" fmla="*/ 127631 h 350064"/>
                  <a:gd name="connsiteX19" fmla="*/ 226459 w 239545"/>
                  <a:gd name="connsiteY19" fmla="*/ 82007 h 350064"/>
                  <a:gd name="connsiteX20" fmla="*/ 223519 w 239545"/>
                  <a:gd name="connsiteY20" fmla="*/ 81304 h 350064"/>
                  <a:gd name="connsiteX21" fmla="*/ 223519 w 239545"/>
                  <a:gd name="connsiteY21" fmla="*/ 81304 h 350064"/>
                  <a:gd name="connsiteX22" fmla="*/ 226651 w 239545"/>
                  <a:gd name="connsiteY22" fmla="*/ 81304 h 350064"/>
                  <a:gd name="connsiteX23" fmla="*/ 239111 w 239545"/>
                  <a:gd name="connsiteY23" fmla="*/ 27949 h 350064"/>
                  <a:gd name="connsiteX24" fmla="*/ 220133 w 239545"/>
                  <a:gd name="connsiteY24" fmla="*/ 472 h 350064"/>
                  <a:gd name="connsiteX25" fmla="*/ 22492 w 239545"/>
                  <a:gd name="connsiteY25" fmla="*/ 307571 h 350064"/>
                  <a:gd name="connsiteX26" fmla="*/ 35336 w 239545"/>
                  <a:gd name="connsiteY26" fmla="*/ 264631 h 350064"/>
                  <a:gd name="connsiteX27" fmla="*/ 102111 w 239545"/>
                  <a:gd name="connsiteY27" fmla="*/ 284632 h 350064"/>
                  <a:gd name="connsiteX28" fmla="*/ 89267 w 239545"/>
                  <a:gd name="connsiteY28" fmla="*/ 327572 h 350064"/>
                  <a:gd name="connsiteX29" fmla="*/ 22492 w 239545"/>
                  <a:gd name="connsiteY29" fmla="*/ 307571 h 350064"/>
                  <a:gd name="connsiteX30" fmla="*/ 58148 w 239545"/>
                  <a:gd name="connsiteY30" fmla="*/ 222586 h 350064"/>
                  <a:gd name="connsiteX31" fmla="*/ 62174 w 239545"/>
                  <a:gd name="connsiteY31" fmla="*/ 184310 h 350064"/>
                  <a:gd name="connsiteX32" fmla="*/ 78915 w 239545"/>
                  <a:gd name="connsiteY32" fmla="*/ 166482 h 350064"/>
                  <a:gd name="connsiteX33" fmla="*/ 79363 w 239545"/>
                  <a:gd name="connsiteY33" fmla="*/ 166163 h 350064"/>
                  <a:gd name="connsiteX34" fmla="*/ 133805 w 239545"/>
                  <a:gd name="connsiteY34" fmla="*/ 123414 h 350064"/>
                  <a:gd name="connsiteX35" fmla="*/ 134700 w 239545"/>
                  <a:gd name="connsiteY35" fmla="*/ 122647 h 350064"/>
                  <a:gd name="connsiteX36" fmla="*/ 148054 w 239545"/>
                  <a:gd name="connsiteY36" fmla="*/ 115235 h 350064"/>
                  <a:gd name="connsiteX37" fmla="*/ 152144 w 239545"/>
                  <a:gd name="connsiteY37" fmla="*/ 117919 h 350064"/>
                  <a:gd name="connsiteX38" fmla="*/ 153486 w 239545"/>
                  <a:gd name="connsiteY38" fmla="*/ 121817 h 350064"/>
                  <a:gd name="connsiteX39" fmla="*/ 149844 w 239545"/>
                  <a:gd name="connsiteY39" fmla="*/ 128334 h 350064"/>
                  <a:gd name="connsiteX40" fmla="*/ 105689 w 239545"/>
                  <a:gd name="connsiteY40" fmla="*/ 164885 h 350064"/>
                  <a:gd name="connsiteX41" fmla="*/ 99491 w 239545"/>
                  <a:gd name="connsiteY41" fmla="*/ 170060 h 350064"/>
                  <a:gd name="connsiteX42" fmla="*/ 110993 w 239545"/>
                  <a:gd name="connsiteY42" fmla="*/ 183927 h 350064"/>
                  <a:gd name="connsiteX43" fmla="*/ 113357 w 239545"/>
                  <a:gd name="connsiteY43" fmla="*/ 181946 h 350064"/>
                  <a:gd name="connsiteX44" fmla="*/ 161218 w 239545"/>
                  <a:gd name="connsiteY44" fmla="*/ 142328 h 350064"/>
                  <a:gd name="connsiteX45" fmla="*/ 171506 w 239545"/>
                  <a:gd name="connsiteY45" fmla="*/ 123606 h 350064"/>
                  <a:gd name="connsiteX46" fmla="*/ 169333 w 239545"/>
                  <a:gd name="connsiteY46" fmla="*/ 111465 h 350064"/>
                  <a:gd name="connsiteX47" fmla="*/ 208887 w 239545"/>
                  <a:gd name="connsiteY47" fmla="*/ 21750 h 350064"/>
                  <a:gd name="connsiteX48" fmla="*/ 217130 w 239545"/>
                  <a:gd name="connsiteY48" fmla="*/ 18108 h 350064"/>
                  <a:gd name="connsiteX49" fmla="*/ 221539 w 239545"/>
                  <a:gd name="connsiteY49" fmla="*/ 24754 h 350064"/>
                  <a:gd name="connsiteX50" fmla="*/ 209398 w 239545"/>
                  <a:gd name="connsiteY50" fmla="*/ 76704 h 350064"/>
                  <a:gd name="connsiteX51" fmla="*/ 209270 w 239545"/>
                  <a:gd name="connsiteY51" fmla="*/ 77343 h 350064"/>
                  <a:gd name="connsiteX52" fmla="*/ 198279 w 239545"/>
                  <a:gd name="connsiteY52" fmla="*/ 123542 h 350064"/>
                  <a:gd name="connsiteX53" fmla="*/ 176042 w 239545"/>
                  <a:gd name="connsiteY53" fmla="*/ 166290 h 350064"/>
                  <a:gd name="connsiteX54" fmla="*/ 111632 w 239545"/>
                  <a:gd name="connsiteY54" fmla="*/ 229359 h 350064"/>
                  <a:gd name="connsiteX55" fmla="*/ 108884 w 239545"/>
                  <a:gd name="connsiteY55" fmla="*/ 232043 h 350064"/>
                  <a:gd name="connsiteX56" fmla="*/ 97766 w 239545"/>
                  <a:gd name="connsiteY56" fmla="*/ 264503 h 350064"/>
                  <a:gd name="connsiteX57" fmla="*/ 50800 w 239545"/>
                  <a:gd name="connsiteY57" fmla="*/ 250446 h 350064"/>
                  <a:gd name="connsiteX58" fmla="*/ 58340 w 239545"/>
                  <a:gd name="connsiteY58" fmla="*/ 226100 h 350064"/>
                  <a:gd name="connsiteX59" fmla="*/ 58340 w 239545"/>
                  <a:gd name="connsiteY59" fmla="*/ 222586 h 350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39545" h="350064">
                    <a:moveTo>
                      <a:pt x="220261" y="408"/>
                    </a:moveTo>
                    <a:cubicBezTo>
                      <a:pt x="210676" y="-1317"/>
                      <a:pt x="197896" y="2261"/>
                      <a:pt x="192401" y="14338"/>
                    </a:cubicBezTo>
                    <a:cubicBezTo>
                      <a:pt x="189397" y="20984"/>
                      <a:pt x="167480" y="70825"/>
                      <a:pt x="155275" y="98557"/>
                    </a:cubicBezTo>
                    <a:cubicBezTo>
                      <a:pt x="153486" y="97918"/>
                      <a:pt x="151633" y="97471"/>
                      <a:pt x="149652" y="97279"/>
                    </a:cubicBezTo>
                    <a:cubicBezTo>
                      <a:pt x="137958" y="96193"/>
                      <a:pt x="128246" y="104500"/>
                      <a:pt x="123006" y="108973"/>
                    </a:cubicBezTo>
                    <a:lnTo>
                      <a:pt x="122175" y="109676"/>
                    </a:lnTo>
                    <a:cubicBezTo>
                      <a:pt x="116297" y="114596"/>
                      <a:pt x="68883" y="151530"/>
                      <a:pt x="68564" y="151785"/>
                    </a:cubicBezTo>
                    <a:cubicBezTo>
                      <a:pt x="65944" y="153574"/>
                      <a:pt x="52525" y="163223"/>
                      <a:pt x="46007" y="176323"/>
                    </a:cubicBezTo>
                    <a:cubicBezTo>
                      <a:pt x="39170" y="189869"/>
                      <a:pt x="39617" y="206036"/>
                      <a:pt x="40065" y="223097"/>
                    </a:cubicBezTo>
                    <a:lnTo>
                      <a:pt x="40065" y="223672"/>
                    </a:lnTo>
                    <a:cubicBezTo>
                      <a:pt x="40065" y="223672"/>
                      <a:pt x="33419" y="245334"/>
                      <a:pt x="33419" y="245334"/>
                    </a:cubicBezTo>
                    <a:lnTo>
                      <a:pt x="23195" y="242266"/>
                    </a:lnTo>
                    <a:lnTo>
                      <a:pt x="0" y="319712"/>
                    </a:lnTo>
                    <a:lnTo>
                      <a:pt x="101280" y="350064"/>
                    </a:lnTo>
                    <a:lnTo>
                      <a:pt x="124412" y="272619"/>
                    </a:lnTo>
                    <a:lnTo>
                      <a:pt x="114827" y="269743"/>
                    </a:lnTo>
                    <a:lnTo>
                      <a:pt x="124284" y="242011"/>
                    </a:lnTo>
                    <a:cubicBezTo>
                      <a:pt x="141217" y="225525"/>
                      <a:pt x="180196" y="187505"/>
                      <a:pt x="188567" y="179134"/>
                    </a:cubicBezTo>
                    <a:cubicBezTo>
                      <a:pt x="200260" y="167377"/>
                      <a:pt x="209078" y="156769"/>
                      <a:pt x="215596" y="127631"/>
                    </a:cubicBezTo>
                    <a:cubicBezTo>
                      <a:pt x="218216" y="116066"/>
                      <a:pt x="222433" y="98749"/>
                      <a:pt x="226459" y="82007"/>
                    </a:cubicBezTo>
                    <a:lnTo>
                      <a:pt x="223519" y="81304"/>
                    </a:lnTo>
                    <a:cubicBezTo>
                      <a:pt x="223519" y="81304"/>
                      <a:pt x="223519" y="81304"/>
                      <a:pt x="223519" y="81304"/>
                    </a:cubicBezTo>
                    <a:lnTo>
                      <a:pt x="226651" y="81304"/>
                    </a:lnTo>
                    <a:cubicBezTo>
                      <a:pt x="232465" y="57534"/>
                      <a:pt x="237897" y="34978"/>
                      <a:pt x="239111" y="27949"/>
                    </a:cubicBezTo>
                    <a:cubicBezTo>
                      <a:pt x="241795" y="12677"/>
                      <a:pt x="231635" y="2581"/>
                      <a:pt x="220133" y="472"/>
                    </a:cubicBezTo>
                    <a:close/>
                    <a:moveTo>
                      <a:pt x="22492" y="307571"/>
                    </a:moveTo>
                    <a:lnTo>
                      <a:pt x="35336" y="264631"/>
                    </a:lnTo>
                    <a:lnTo>
                      <a:pt x="102111" y="284632"/>
                    </a:lnTo>
                    <a:lnTo>
                      <a:pt x="89267" y="327572"/>
                    </a:lnTo>
                    <a:lnTo>
                      <a:pt x="22492" y="307571"/>
                    </a:lnTo>
                    <a:close/>
                    <a:moveTo>
                      <a:pt x="58148" y="222586"/>
                    </a:moveTo>
                    <a:cubicBezTo>
                      <a:pt x="57765" y="207825"/>
                      <a:pt x="57381" y="193895"/>
                      <a:pt x="62174" y="184310"/>
                    </a:cubicBezTo>
                    <a:cubicBezTo>
                      <a:pt x="66966" y="174661"/>
                      <a:pt x="78724" y="166610"/>
                      <a:pt x="78915" y="166482"/>
                    </a:cubicBezTo>
                    <a:lnTo>
                      <a:pt x="79363" y="166163"/>
                    </a:lnTo>
                    <a:cubicBezTo>
                      <a:pt x="79810" y="165779"/>
                      <a:pt x="127607" y="128654"/>
                      <a:pt x="133805" y="123414"/>
                    </a:cubicBezTo>
                    <a:lnTo>
                      <a:pt x="134700" y="122647"/>
                    </a:lnTo>
                    <a:cubicBezTo>
                      <a:pt x="137703" y="120091"/>
                      <a:pt x="144029" y="114852"/>
                      <a:pt x="148054" y="115235"/>
                    </a:cubicBezTo>
                    <a:cubicBezTo>
                      <a:pt x="149396" y="115363"/>
                      <a:pt x="150738" y="116257"/>
                      <a:pt x="152144" y="117919"/>
                    </a:cubicBezTo>
                    <a:cubicBezTo>
                      <a:pt x="153230" y="119197"/>
                      <a:pt x="153614" y="120411"/>
                      <a:pt x="153486" y="121817"/>
                    </a:cubicBezTo>
                    <a:cubicBezTo>
                      <a:pt x="153230" y="124500"/>
                      <a:pt x="151122" y="127248"/>
                      <a:pt x="149844" y="128334"/>
                    </a:cubicBezTo>
                    <a:cubicBezTo>
                      <a:pt x="146265" y="131210"/>
                      <a:pt x="116744" y="155683"/>
                      <a:pt x="105689" y="164885"/>
                    </a:cubicBezTo>
                    <a:lnTo>
                      <a:pt x="99491" y="170060"/>
                    </a:lnTo>
                    <a:lnTo>
                      <a:pt x="110993" y="183927"/>
                    </a:lnTo>
                    <a:lnTo>
                      <a:pt x="113357" y="181946"/>
                    </a:lnTo>
                    <a:cubicBezTo>
                      <a:pt x="113741" y="181626"/>
                      <a:pt x="157000" y="145715"/>
                      <a:pt x="161218" y="142328"/>
                    </a:cubicBezTo>
                    <a:cubicBezTo>
                      <a:pt x="165435" y="138942"/>
                      <a:pt x="170675" y="131977"/>
                      <a:pt x="171506" y="123606"/>
                    </a:cubicBezTo>
                    <a:cubicBezTo>
                      <a:pt x="171953" y="119324"/>
                      <a:pt x="171186" y="115235"/>
                      <a:pt x="169333" y="111465"/>
                    </a:cubicBezTo>
                    <a:cubicBezTo>
                      <a:pt x="175851" y="96640"/>
                      <a:pt x="205500" y="29227"/>
                      <a:pt x="208887" y="21750"/>
                    </a:cubicBezTo>
                    <a:cubicBezTo>
                      <a:pt x="210995" y="17150"/>
                      <a:pt x="216874" y="18044"/>
                      <a:pt x="217130" y="18108"/>
                    </a:cubicBezTo>
                    <a:cubicBezTo>
                      <a:pt x="222561" y="19067"/>
                      <a:pt x="221858" y="23220"/>
                      <a:pt x="221539" y="24754"/>
                    </a:cubicBezTo>
                    <a:cubicBezTo>
                      <a:pt x="220452" y="31208"/>
                      <a:pt x="214829" y="54339"/>
                      <a:pt x="209398" y="76704"/>
                    </a:cubicBezTo>
                    <a:lnTo>
                      <a:pt x="209270" y="77343"/>
                    </a:lnTo>
                    <a:cubicBezTo>
                      <a:pt x="205180" y="94276"/>
                      <a:pt x="200899" y="111720"/>
                      <a:pt x="198279" y="123542"/>
                    </a:cubicBezTo>
                    <a:cubicBezTo>
                      <a:pt x="192401" y="149932"/>
                      <a:pt x="184797" y="157472"/>
                      <a:pt x="176042" y="166290"/>
                    </a:cubicBezTo>
                    <a:cubicBezTo>
                      <a:pt x="167799" y="174597"/>
                      <a:pt x="128246" y="213128"/>
                      <a:pt x="111632" y="229359"/>
                    </a:cubicBezTo>
                    <a:lnTo>
                      <a:pt x="108884" y="232043"/>
                    </a:lnTo>
                    <a:lnTo>
                      <a:pt x="97766" y="264503"/>
                    </a:lnTo>
                    <a:lnTo>
                      <a:pt x="50800" y="250446"/>
                    </a:lnTo>
                    <a:lnTo>
                      <a:pt x="58340" y="226100"/>
                    </a:lnTo>
                    <a:lnTo>
                      <a:pt x="58340" y="222586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5" name="Grafik 5">
              <a:extLst>
                <a:ext uri="{FF2B5EF4-FFF2-40B4-BE49-F238E27FC236}">
                  <a16:creationId xmlns:a16="http://schemas.microsoft.com/office/drawing/2014/main" id="{C3DE8E88-3B53-9E0D-AB27-BD6C71F99F9D}"/>
                </a:ext>
              </a:extLst>
            </p:cNvPr>
            <p:cNvGrpSpPr/>
            <p:nvPr/>
          </p:nvGrpSpPr>
          <p:grpSpPr>
            <a:xfrm>
              <a:off x="396060" y="299477"/>
              <a:ext cx="501289" cy="489787"/>
              <a:chOff x="396060" y="299477"/>
              <a:chExt cx="501289" cy="489787"/>
            </a:xfrm>
            <a:solidFill>
              <a:srgbClr val="FFFFFF"/>
            </a:solidFill>
          </p:grpSpPr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5D412E7A-C2C4-0FE7-64AC-D20D7D49AA26}"/>
                  </a:ext>
                </a:extLst>
              </p:cNvPr>
              <p:cNvSpPr/>
              <p:nvPr/>
            </p:nvSpPr>
            <p:spPr>
              <a:xfrm>
                <a:off x="396060" y="299477"/>
                <a:ext cx="501289" cy="267641"/>
              </a:xfrm>
              <a:custGeom>
                <a:avLst/>
                <a:gdLst>
                  <a:gd name="connsiteX0" fmla="*/ 497552 w 501289"/>
                  <a:gd name="connsiteY0" fmla="*/ 245884 h 267641"/>
                  <a:gd name="connsiteX1" fmla="*/ 250645 w 501289"/>
                  <a:gd name="connsiteY1" fmla="*/ 0 h 267641"/>
                  <a:gd name="connsiteX2" fmla="*/ 3738 w 501289"/>
                  <a:gd name="connsiteY2" fmla="*/ 245884 h 267641"/>
                  <a:gd name="connsiteX3" fmla="*/ 3738 w 501289"/>
                  <a:gd name="connsiteY3" fmla="*/ 263904 h 267641"/>
                  <a:gd name="connsiteX4" fmla="*/ 21758 w 501289"/>
                  <a:gd name="connsiteY4" fmla="*/ 263904 h 267641"/>
                  <a:gd name="connsiteX5" fmla="*/ 250645 w 501289"/>
                  <a:gd name="connsiteY5" fmla="*/ 33994 h 267641"/>
                  <a:gd name="connsiteX6" fmla="*/ 479532 w 501289"/>
                  <a:gd name="connsiteY6" fmla="*/ 263904 h 267641"/>
                  <a:gd name="connsiteX7" fmla="*/ 488542 w 501289"/>
                  <a:gd name="connsiteY7" fmla="*/ 267610 h 267641"/>
                  <a:gd name="connsiteX8" fmla="*/ 497552 w 501289"/>
                  <a:gd name="connsiteY8" fmla="*/ 263904 h 267641"/>
                  <a:gd name="connsiteX9" fmla="*/ 497552 w 501289"/>
                  <a:gd name="connsiteY9" fmla="*/ 245884 h 267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1289" h="267641">
                    <a:moveTo>
                      <a:pt x="497552" y="245884"/>
                    </a:moveTo>
                    <a:lnTo>
                      <a:pt x="250645" y="0"/>
                    </a:lnTo>
                    <a:lnTo>
                      <a:pt x="3738" y="245884"/>
                    </a:lnTo>
                    <a:cubicBezTo>
                      <a:pt x="-1246" y="250868"/>
                      <a:pt x="-1246" y="258919"/>
                      <a:pt x="3738" y="263904"/>
                    </a:cubicBezTo>
                    <a:cubicBezTo>
                      <a:pt x="8722" y="268888"/>
                      <a:pt x="16774" y="268888"/>
                      <a:pt x="21758" y="263904"/>
                    </a:cubicBezTo>
                    <a:lnTo>
                      <a:pt x="250645" y="33994"/>
                    </a:lnTo>
                    <a:lnTo>
                      <a:pt x="479532" y="263904"/>
                    </a:lnTo>
                    <a:cubicBezTo>
                      <a:pt x="482024" y="266396"/>
                      <a:pt x="485283" y="267610"/>
                      <a:pt x="488542" y="267610"/>
                    </a:cubicBezTo>
                    <a:cubicBezTo>
                      <a:pt x="491801" y="267610"/>
                      <a:pt x="495059" y="266396"/>
                      <a:pt x="497552" y="263904"/>
                    </a:cubicBezTo>
                    <a:cubicBezTo>
                      <a:pt x="502536" y="258919"/>
                      <a:pt x="502536" y="250868"/>
                      <a:pt x="497552" y="2458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1BAD6EC5-28FA-1F61-6E43-734A4CB61BD2}"/>
                  </a:ext>
                </a:extLst>
              </p:cNvPr>
              <p:cNvSpPr/>
              <p:nvPr/>
            </p:nvSpPr>
            <p:spPr>
              <a:xfrm>
                <a:off x="440886" y="515520"/>
                <a:ext cx="413683" cy="273744"/>
              </a:xfrm>
              <a:custGeom>
                <a:avLst/>
                <a:gdLst>
                  <a:gd name="connsiteX0" fmla="*/ 337835 w 413683"/>
                  <a:gd name="connsiteY0" fmla="*/ 136041 h 273744"/>
                  <a:gd name="connsiteX1" fmla="*/ 379178 w 413683"/>
                  <a:gd name="connsiteY1" fmla="*/ 94699 h 273744"/>
                  <a:gd name="connsiteX2" fmla="*/ 379178 w 413683"/>
                  <a:gd name="connsiteY2" fmla="*/ 67094 h 273744"/>
                  <a:gd name="connsiteX3" fmla="*/ 337835 w 413683"/>
                  <a:gd name="connsiteY3" fmla="*/ 25751 h 273744"/>
                  <a:gd name="connsiteX4" fmla="*/ 296493 w 413683"/>
                  <a:gd name="connsiteY4" fmla="*/ 67094 h 273744"/>
                  <a:gd name="connsiteX5" fmla="*/ 296493 w 413683"/>
                  <a:gd name="connsiteY5" fmla="*/ 94699 h 273744"/>
                  <a:gd name="connsiteX6" fmla="*/ 337835 w 413683"/>
                  <a:gd name="connsiteY6" fmla="*/ 136041 h 273744"/>
                  <a:gd name="connsiteX7" fmla="*/ 337835 w 413683"/>
                  <a:gd name="connsiteY7" fmla="*/ 136041 h 273744"/>
                  <a:gd name="connsiteX8" fmla="*/ 317132 w 413683"/>
                  <a:gd name="connsiteY8" fmla="*/ 67094 h 273744"/>
                  <a:gd name="connsiteX9" fmla="*/ 337835 w 413683"/>
                  <a:gd name="connsiteY9" fmla="*/ 46391 h 273744"/>
                  <a:gd name="connsiteX10" fmla="*/ 358539 w 413683"/>
                  <a:gd name="connsiteY10" fmla="*/ 67094 h 273744"/>
                  <a:gd name="connsiteX11" fmla="*/ 358539 w 413683"/>
                  <a:gd name="connsiteY11" fmla="*/ 94699 h 273744"/>
                  <a:gd name="connsiteX12" fmla="*/ 337835 w 413683"/>
                  <a:gd name="connsiteY12" fmla="*/ 115402 h 273744"/>
                  <a:gd name="connsiteX13" fmla="*/ 317132 w 413683"/>
                  <a:gd name="connsiteY13" fmla="*/ 94699 h 273744"/>
                  <a:gd name="connsiteX14" fmla="*/ 317132 w 413683"/>
                  <a:gd name="connsiteY14" fmla="*/ 67094 h 273744"/>
                  <a:gd name="connsiteX15" fmla="*/ 317132 w 413683"/>
                  <a:gd name="connsiteY15" fmla="*/ 67094 h 273744"/>
                  <a:gd name="connsiteX16" fmla="*/ 104539 w 413683"/>
                  <a:gd name="connsiteY16" fmla="*/ 170355 h 273744"/>
                  <a:gd name="connsiteX17" fmla="*/ 47158 w 413683"/>
                  <a:gd name="connsiteY17" fmla="*/ 170355 h 273744"/>
                  <a:gd name="connsiteX18" fmla="*/ 20703 w 413683"/>
                  <a:gd name="connsiteY18" fmla="*/ 196682 h 273744"/>
                  <a:gd name="connsiteX19" fmla="*/ 20703 w 413683"/>
                  <a:gd name="connsiteY19" fmla="*/ 218599 h 273744"/>
                  <a:gd name="connsiteX20" fmla="*/ 0 w 413683"/>
                  <a:gd name="connsiteY20" fmla="*/ 218599 h 273744"/>
                  <a:gd name="connsiteX21" fmla="*/ 0 w 413683"/>
                  <a:gd name="connsiteY21" fmla="*/ 196682 h 273744"/>
                  <a:gd name="connsiteX22" fmla="*/ 47158 w 413683"/>
                  <a:gd name="connsiteY22" fmla="*/ 149716 h 273744"/>
                  <a:gd name="connsiteX23" fmla="*/ 104539 w 413683"/>
                  <a:gd name="connsiteY23" fmla="*/ 149716 h 273744"/>
                  <a:gd name="connsiteX24" fmla="*/ 135083 w 413683"/>
                  <a:gd name="connsiteY24" fmla="*/ 160962 h 273744"/>
                  <a:gd name="connsiteX25" fmla="*/ 113102 w 413683"/>
                  <a:gd name="connsiteY25" fmla="*/ 171953 h 273744"/>
                  <a:gd name="connsiteX26" fmla="*/ 104539 w 413683"/>
                  <a:gd name="connsiteY26" fmla="*/ 170419 h 273744"/>
                  <a:gd name="connsiteX27" fmla="*/ 104539 w 413683"/>
                  <a:gd name="connsiteY27" fmla="*/ 170419 h 273744"/>
                  <a:gd name="connsiteX28" fmla="*/ 413684 w 413683"/>
                  <a:gd name="connsiteY28" fmla="*/ 196682 h 273744"/>
                  <a:gd name="connsiteX29" fmla="*/ 413684 w 413683"/>
                  <a:gd name="connsiteY29" fmla="*/ 218599 h 273744"/>
                  <a:gd name="connsiteX30" fmla="*/ 392980 w 413683"/>
                  <a:gd name="connsiteY30" fmla="*/ 218599 h 273744"/>
                  <a:gd name="connsiteX31" fmla="*/ 392980 w 413683"/>
                  <a:gd name="connsiteY31" fmla="*/ 196682 h 273744"/>
                  <a:gd name="connsiteX32" fmla="*/ 366526 w 413683"/>
                  <a:gd name="connsiteY32" fmla="*/ 170355 h 273744"/>
                  <a:gd name="connsiteX33" fmla="*/ 309145 w 413683"/>
                  <a:gd name="connsiteY33" fmla="*/ 170355 h 273744"/>
                  <a:gd name="connsiteX34" fmla="*/ 300710 w 413683"/>
                  <a:gd name="connsiteY34" fmla="*/ 171825 h 273744"/>
                  <a:gd name="connsiteX35" fmla="*/ 278601 w 413683"/>
                  <a:gd name="connsiteY35" fmla="*/ 160834 h 273744"/>
                  <a:gd name="connsiteX36" fmla="*/ 309081 w 413683"/>
                  <a:gd name="connsiteY36" fmla="*/ 149652 h 273744"/>
                  <a:gd name="connsiteX37" fmla="*/ 366462 w 413683"/>
                  <a:gd name="connsiteY37" fmla="*/ 149652 h 273744"/>
                  <a:gd name="connsiteX38" fmla="*/ 413620 w 413683"/>
                  <a:gd name="connsiteY38" fmla="*/ 196618 h 273744"/>
                  <a:gd name="connsiteX39" fmla="*/ 413620 w 413683"/>
                  <a:gd name="connsiteY39" fmla="*/ 196618 h 273744"/>
                  <a:gd name="connsiteX40" fmla="*/ 75848 w 413683"/>
                  <a:gd name="connsiteY40" fmla="*/ 136041 h 273744"/>
                  <a:gd name="connsiteX41" fmla="*/ 117191 w 413683"/>
                  <a:gd name="connsiteY41" fmla="*/ 94699 h 273744"/>
                  <a:gd name="connsiteX42" fmla="*/ 117191 w 413683"/>
                  <a:gd name="connsiteY42" fmla="*/ 67094 h 273744"/>
                  <a:gd name="connsiteX43" fmla="*/ 75848 w 413683"/>
                  <a:gd name="connsiteY43" fmla="*/ 25751 h 273744"/>
                  <a:gd name="connsiteX44" fmla="*/ 34506 w 413683"/>
                  <a:gd name="connsiteY44" fmla="*/ 67094 h 273744"/>
                  <a:gd name="connsiteX45" fmla="*/ 34506 w 413683"/>
                  <a:gd name="connsiteY45" fmla="*/ 94699 h 273744"/>
                  <a:gd name="connsiteX46" fmla="*/ 75848 w 413683"/>
                  <a:gd name="connsiteY46" fmla="*/ 136041 h 273744"/>
                  <a:gd name="connsiteX47" fmla="*/ 75848 w 413683"/>
                  <a:gd name="connsiteY47" fmla="*/ 136041 h 273744"/>
                  <a:gd name="connsiteX48" fmla="*/ 55145 w 413683"/>
                  <a:gd name="connsiteY48" fmla="*/ 67094 h 273744"/>
                  <a:gd name="connsiteX49" fmla="*/ 75848 w 413683"/>
                  <a:gd name="connsiteY49" fmla="*/ 46391 h 273744"/>
                  <a:gd name="connsiteX50" fmla="*/ 96552 w 413683"/>
                  <a:gd name="connsiteY50" fmla="*/ 67094 h 273744"/>
                  <a:gd name="connsiteX51" fmla="*/ 96552 w 413683"/>
                  <a:gd name="connsiteY51" fmla="*/ 94699 h 273744"/>
                  <a:gd name="connsiteX52" fmla="*/ 75848 w 413683"/>
                  <a:gd name="connsiteY52" fmla="*/ 115402 h 273744"/>
                  <a:gd name="connsiteX53" fmla="*/ 55145 w 413683"/>
                  <a:gd name="connsiteY53" fmla="*/ 94699 h 273744"/>
                  <a:gd name="connsiteX54" fmla="*/ 55145 w 413683"/>
                  <a:gd name="connsiteY54" fmla="*/ 67094 h 273744"/>
                  <a:gd name="connsiteX55" fmla="*/ 55145 w 413683"/>
                  <a:gd name="connsiteY55" fmla="*/ 67094 h 273744"/>
                  <a:gd name="connsiteX56" fmla="*/ 89715 w 413683"/>
                  <a:gd name="connsiteY56" fmla="*/ 273744 h 273744"/>
                  <a:gd name="connsiteX57" fmla="*/ 89715 w 413683"/>
                  <a:gd name="connsiteY57" fmla="*/ 242817 h 273744"/>
                  <a:gd name="connsiteX58" fmla="*/ 161857 w 413683"/>
                  <a:gd name="connsiteY58" fmla="*/ 170355 h 273744"/>
                  <a:gd name="connsiteX59" fmla="*/ 252019 w 413683"/>
                  <a:gd name="connsiteY59" fmla="*/ 170355 h 273744"/>
                  <a:gd name="connsiteX60" fmla="*/ 324161 w 413683"/>
                  <a:gd name="connsiteY60" fmla="*/ 242817 h 273744"/>
                  <a:gd name="connsiteX61" fmla="*/ 324161 w 413683"/>
                  <a:gd name="connsiteY61" fmla="*/ 273744 h 273744"/>
                  <a:gd name="connsiteX62" fmla="*/ 303458 w 413683"/>
                  <a:gd name="connsiteY62" fmla="*/ 273744 h 273744"/>
                  <a:gd name="connsiteX63" fmla="*/ 303458 w 413683"/>
                  <a:gd name="connsiteY63" fmla="*/ 242817 h 273744"/>
                  <a:gd name="connsiteX64" fmla="*/ 252019 w 413683"/>
                  <a:gd name="connsiteY64" fmla="*/ 190995 h 273744"/>
                  <a:gd name="connsiteX65" fmla="*/ 161857 w 413683"/>
                  <a:gd name="connsiteY65" fmla="*/ 190995 h 273744"/>
                  <a:gd name="connsiteX66" fmla="*/ 110418 w 413683"/>
                  <a:gd name="connsiteY66" fmla="*/ 242817 h 273744"/>
                  <a:gd name="connsiteX67" fmla="*/ 110418 w 413683"/>
                  <a:gd name="connsiteY67" fmla="*/ 273744 h 273744"/>
                  <a:gd name="connsiteX68" fmla="*/ 89715 w 413683"/>
                  <a:gd name="connsiteY68" fmla="*/ 273744 h 273744"/>
                  <a:gd name="connsiteX69" fmla="*/ 206842 w 413683"/>
                  <a:gd name="connsiteY69" fmla="*/ 156233 h 273744"/>
                  <a:gd name="connsiteX70" fmla="*/ 261987 w 413683"/>
                  <a:gd name="connsiteY70" fmla="*/ 101088 h 273744"/>
                  <a:gd name="connsiteX71" fmla="*/ 261987 w 413683"/>
                  <a:gd name="connsiteY71" fmla="*/ 55145 h 273744"/>
                  <a:gd name="connsiteX72" fmla="*/ 206842 w 413683"/>
                  <a:gd name="connsiteY72" fmla="*/ 0 h 273744"/>
                  <a:gd name="connsiteX73" fmla="*/ 151697 w 413683"/>
                  <a:gd name="connsiteY73" fmla="*/ 55145 h 273744"/>
                  <a:gd name="connsiteX74" fmla="*/ 151697 w 413683"/>
                  <a:gd name="connsiteY74" fmla="*/ 101088 h 273744"/>
                  <a:gd name="connsiteX75" fmla="*/ 206842 w 413683"/>
                  <a:gd name="connsiteY75" fmla="*/ 156233 h 273744"/>
                  <a:gd name="connsiteX76" fmla="*/ 206842 w 413683"/>
                  <a:gd name="connsiteY76" fmla="*/ 156233 h 273744"/>
                  <a:gd name="connsiteX77" fmla="*/ 172336 w 413683"/>
                  <a:gd name="connsiteY77" fmla="*/ 55081 h 273744"/>
                  <a:gd name="connsiteX78" fmla="*/ 206778 w 413683"/>
                  <a:gd name="connsiteY78" fmla="*/ 20639 h 273744"/>
                  <a:gd name="connsiteX79" fmla="*/ 241220 w 413683"/>
                  <a:gd name="connsiteY79" fmla="*/ 55081 h 273744"/>
                  <a:gd name="connsiteX80" fmla="*/ 241220 w 413683"/>
                  <a:gd name="connsiteY80" fmla="*/ 101025 h 273744"/>
                  <a:gd name="connsiteX81" fmla="*/ 206778 w 413683"/>
                  <a:gd name="connsiteY81" fmla="*/ 135466 h 273744"/>
                  <a:gd name="connsiteX82" fmla="*/ 172336 w 413683"/>
                  <a:gd name="connsiteY82" fmla="*/ 101025 h 273744"/>
                  <a:gd name="connsiteX83" fmla="*/ 172336 w 413683"/>
                  <a:gd name="connsiteY83" fmla="*/ 55081 h 273744"/>
                  <a:gd name="connsiteX84" fmla="*/ 172336 w 413683"/>
                  <a:gd name="connsiteY84" fmla="*/ 55081 h 273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413683" h="273744">
                    <a:moveTo>
                      <a:pt x="337835" y="136041"/>
                    </a:moveTo>
                    <a:cubicBezTo>
                      <a:pt x="360711" y="136041"/>
                      <a:pt x="379178" y="117511"/>
                      <a:pt x="379178" y="94699"/>
                    </a:cubicBezTo>
                    <a:lnTo>
                      <a:pt x="379178" y="67094"/>
                    </a:lnTo>
                    <a:cubicBezTo>
                      <a:pt x="379178" y="44282"/>
                      <a:pt x="360647" y="25751"/>
                      <a:pt x="337835" y="25751"/>
                    </a:cubicBezTo>
                    <a:cubicBezTo>
                      <a:pt x="315023" y="25751"/>
                      <a:pt x="296493" y="44282"/>
                      <a:pt x="296493" y="67094"/>
                    </a:cubicBezTo>
                    <a:lnTo>
                      <a:pt x="296493" y="94699"/>
                    </a:lnTo>
                    <a:cubicBezTo>
                      <a:pt x="296493" y="117574"/>
                      <a:pt x="315023" y="136041"/>
                      <a:pt x="337835" y="136041"/>
                    </a:cubicBezTo>
                    <a:lnTo>
                      <a:pt x="337835" y="136041"/>
                    </a:lnTo>
                    <a:close/>
                    <a:moveTo>
                      <a:pt x="317132" y="67094"/>
                    </a:moveTo>
                    <a:cubicBezTo>
                      <a:pt x="317132" y="55720"/>
                      <a:pt x="326397" y="46391"/>
                      <a:pt x="337835" y="46391"/>
                    </a:cubicBezTo>
                    <a:cubicBezTo>
                      <a:pt x="349273" y="46391"/>
                      <a:pt x="358539" y="55656"/>
                      <a:pt x="358539" y="67094"/>
                    </a:cubicBezTo>
                    <a:lnTo>
                      <a:pt x="358539" y="94699"/>
                    </a:lnTo>
                    <a:cubicBezTo>
                      <a:pt x="358539" y="106073"/>
                      <a:pt x="349273" y="115402"/>
                      <a:pt x="337835" y="115402"/>
                    </a:cubicBezTo>
                    <a:cubicBezTo>
                      <a:pt x="326397" y="115402"/>
                      <a:pt x="317132" y="106137"/>
                      <a:pt x="317132" y="94699"/>
                    </a:cubicBezTo>
                    <a:lnTo>
                      <a:pt x="317132" y="67094"/>
                    </a:lnTo>
                    <a:lnTo>
                      <a:pt x="317132" y="67094"/>
                    </a:lnTo>
                    <a:close/>
                    <a:moveTo>
                      <a:pt x="104539" y="170355"/>
                    </a:moveTo>
                    <a:lnTo>
                      <a:pt x="47158" y="170355"/>
                    </a:lnTo>
                    <a:cubicBezTo>
                      <a:pt x="32589" y="170355"/>
                      <a:pt x="20703" y="182177"/>
                      <a:pt x="20703" y="196682"/>
                    </a:cubicBezTo>
                    <a:lnTo>
                      <a:pt x="20703" y="218599"/>
                    </a:lnTo>
                    <a:lnTo>
                      <a:pt x="0" y="218599"/>
                    </a:lnTo>
                    <a:lnTo>
                      <a:pt x="0" y="196682"/>
                    </a:lnTo>
                    <a:cubicBezTo>
                      <a:pt x="0" y="170739"/>
                      <a:pt x="21087" y="149716"/>
                      <a:pt x="47158" y="149716"/>
                    </a:cubicBezTo>
                    <a:lnTo>
                      <a:pt x="104539" y="149716"/>
                    </a:lnTo>
                    <a:cubicBezTo>
                      <a:pt x="116233" y="149716"/>
                      <a:pt x="126840" y="153933"/>
                      <a:pt x="135083" y="160962"/>
                    </a:cubicBezTo>
                    <a:cubicBezTo>
                      <a:pt x="127159" y="163582"/>
                      <a:pt x="119811" y="167288"/>
                      <a:pt x="113102" y="171953"/>
                    </a:cubicBezTo>
                    <a:cubicBezTo>
                      <a:pt x="110418" y="170994"/>
                      <a:pt x="107542" y="170419"/>
                      <a:pt x="104539" y="170419"/>
                    </a:cubicBezTo>
                    <a:lnTo>
                      <a:pt x="104539" y="170419"/>
                    </a:lnTo>
                    <a:close/>
                    <a:moveTo>
                      <a:pt x="413684" y="196682"/>
                    </a:moveTo>
                    <a:lnTo>
                      <a:pt x="413684" y="218599"/>
                    </a:lnTo>
                    <a:lnTo>
                      <a:pt x="392980" y="218599"/>
                    </a:lnTo>
                    <a:lnTo>
                      <a:pt x="392980" y="196682"/>
                    </a:lnTo>
                    <a:cubicBezTo>
                      <a:pt x="392980" y="182177"/>
                      <a:pt x="381095" y="170355"/>
                      <a:pt x="366526" y="170355"/>
                    </a:cubicBezTo>
                    <a:lnTo>
                      <a:pt x="309145" y="170355"/>
                    </a:lnTo>
                    <a:cubicBezTo>
                      <a:pt x="306205" y="170355"/>
                      <a:pt x="303394" y="170930"/>
                      <a:pt x="300710" y="171825"/>
                    </a:cubicBezTo>
                    <a:cubicBezTo>
                      <a:pt x="294000" y="167160"/>
                      <a:pt x="286524" y="163454"/>
                      <a:pt x="278601" y="160834"/>
                    </a:cubicBezTo>
                    <a:cubicBezTo>
                      <a:pt x="286844" y="153869"/>
                      <a:pt x="297451" y="149652"/>
                      <a:pt x="309081" y="149652"/>
                    </a:cubicBezTo>
                    <a:lnTo>
                      <a:pt x="366462" y="149652"/>
                    </a:lnTo>
                    <a:cubicBezTo>
                      <a:pt x="392469" y="149652"/>
                      <a:pt x="413620" y="170675"/>
                      <a:pt x="413620" y="196618"/>
                    </a:cubicBezTo>
                    <a:lnTo>
                      <a:pt x="413620" y="196618"/>
                    </a:lnTo>
                    <a:close/>
                    <a:moveTo>
                      <a:pt x="75848" y="136041"/>
                    </a:moveTo>
                    <a:cubicBezTo>
                      <a:pt x="98724" y="136041"/>
                      <a:pt x="117191" y="117511"/>
                      <a:pt x="117191" y="94699"/>
                    </a:cubicBezTo>
                    <a:lnTo>
                      <a:pt x="117191" y="67094"/>
                    </a:lnTo>
                    <a:cubicBezTo>
                      <a:pt x="117191" y="44282"/>
                      <a:pt x="98660" y="25751"/>
                      <a:pt x="75848" y="25751"/>
                    </a:cubicBezTo>
                    <a:cubicBezTo>
                      <a:pt x="53036" y="25751"/>
                      <a:pt x="34506" y="44282"/>
                      <a:pt x="34506" y="67094"/>
                    </a:cubicBezTo>
                    <a:lnTo>
                      <a:pt x="34506" y="94699"/>
                    </a:lnTo>
                    <a:cubicBezTo>
                      <a:pt x="34506" y="117574"/>
                      <a:pt x="53036" y="136041"/>
                      <a:pt x="75848" y="136041"/>
                    </a:cubicBezTo>
                    <a:lnTo>
                      <a:pt x="75848" y="136041"/>
                    </a:lnTo>
                    <a:close/>
                    <a:moveTo>
                      <a:pt x="55145" y="67094"/>
                    </a:moveTo>
                    <a:cubicBezTo>
                      <a:pt x="55145" y="55720"/>
                      <a:pt x="64410" y="46391"/>
                      <a:pt x="75848" y="46391"/>
                    </a:cubicBezTo>
                    <a:cubicBezTo>
                      <a:pt x="87286" y="46391"/>
                      <a:pt x="96552" y="55656"/>
                      <a:pt x="96552" y="67094"/>
                    </a:cubicBezTo>
                    <a:lnTo>
                      <a:pt x="96552" y="94699"/>
                    </a:lnTo>
                    <a:cubicBezTo>
                      <a:pt x="96552" y="106073"/>
                      <a:pt x="87286" y="115402"/>
                      <a:pt x="75848" y="115402"/>
                    </a:cubicBezTo>
                    <a:cubicBezTo>
                      <a:pt x="64410" y="115402"/>
                      <a:pt x="55145" y="106137"/>
                      <a:pt x="55145" y="94699"/>
                    </a:cubicBezTo>
                    <a:lnTo>
                      <a:pt x="55145" y="67094"/>
                    </a:lnTo>
                    <a:lnTo>
                      <a:pt x="55145" y="67094"/>
                    </a:lnTo>
                    <a:close/>
                    <a:moveTo>
                      <a:pt x="89715" y="273744"/>
                    </a:moveTo>
                    <a:lnTo>
                      <a:pt x="89715" y="242817"/>
                    </a:lnTo>
                    <a:cubicBezTo>
                      <a:pt x="89715" y="202752"/>
                      <a:pt x="121984" y="170355"/>
                      <a:pt x="161857" y="170355"/>
                    </a:cubicBezTo>
                    <a:lnTo>
                      <a:pt x="252019" y="170355"/>
                    </a:lnTo>
                    <a:cubicBezTo>
                      <a:pt x="291828" y="170355"/>
                      <a:pt x="324161" y="202816"/>
                      <a:pt x="324161" y="242817"/>
                    </a:cubicBezTo>
                    <a:lnTo>
                      <a:pt x="324161" y="273744"/>
                    </a:lnTo>
                    <a:lnTo>
                      <a:pt x="303458" y="273744"/>
                    </a:lnTo>
                    <a:lnTo>
                      <a:pt x="303458" y="242817"/>
                    </a:lnTo>
                    <a:cubicBezTo>
                      <a:pt x="303458" y="214254"/>
                      <a:pt x="280390" y="190995"/>
                      <a:pt x="252019" y="190995"/>
                    </a:cubicBezTo>
                    <a:lnTo>
                      <a:pt x="161857" y="190995"/>
                    </a:lnTo>
                    <a:cubicBezTo>
                      <a:pt x="133486" y="190995"/>
                      <a:pt x="110418" y="214254"/>
                      <a:pt x="110418" y="242817"/>
                    </a:cubicBezTo>
                    <a:lnTo>
                      <a:pt x="110418" y="273744"/>
                    </a:lnTo>
                    <a:lnTo>
                      <a:pt x="89715" y="273744"/>
                    </a:lnTo>
                    <a:close/>
                    <a:moveTo>
                      <a:pt x="206842" y="156233"/>
                    </a:moveTo>
                    <a:cubicBezTo>
                      <a:pt x="237322" y="156233"/>
                      <a:pt x="261987" y="131568"/>
                      <a:pt x="261987" y="101088"/>
                    </a:cubicBezTo>
                    <a:lnTo>
                      <a:pt x="261987" y="55145"/>
                    </a:lnTo>
                    <a:cubicBezTo>
                      <a:pt x="261987" y="24729"/>
                      <a:pt x="237322" y="0"/>
                      <a:pt x="206842" y="0"/>
                    </a:cubicBezTo>
                    <a:cubicBezTo>
                      <a:pt x="176362" y="0"/>
                      <a:pt x="151697" y="24729"/>
                      <a:pt x="151697" y="55145"/>
                    </a:cubicBezTo>
                    <a:lnTo>
                      <a:pt x="151697" y="101088"/>
                    </a:lnTo>
                    <a:cubicBezTo>
                      <a:pt x="151697" y="131568"/>
                      <a:pt x="176362" y="156233"/>
                      <a:pt x="206842" y="156233"/>
                    </a:cubicBezTo>
                    <a:lnTo>
                      <a:pt x="206842" y="156233"/>
                    </a:lnTo>
                    <a:close/>
                    <a:moveTo>
                      <a:pt x="172336" y="55081"/>
                    </a:moveTo>
                    <a:cubicBezTo>
                      <a:pt x="172336" y="36103"/>
                      <a:pt x="187800" y="20639"/>
                      <a:pt x="206778" y="20639"/>
                    </a:cubicBezTo>
                    <a:cubicBezTo>
                      <a:pt x="225756" y="20639"/>
                      <a:pt x="241220" y="36103"/>
                      <a:pt x="241220" y="55081"/>
                    </a:cubicBezTo>
                    <a:lnTo>
                      <a:pt x="241220" y="101025"/>
                    </a:lnTo>
                    <a:cubicBezTo>
                      <a:pt x="241220" y="120003"/>
                      <a:pt x="225756" y="135466"/>
                      <a:pt x="206778" y="135466"/>
                    </a:cubicBezTo>
                    <a:cubicBezTo>
                      <a:pt x="187800" y="135466"/>
                      <a:pt x="172336" y="120003"/>
                      <a:pt x="172336" y="101025"/>
                    </a:cubicBezTo>
                    <a:lnTo>
                      <a:pt x="172336" y="55081"/>
                    </a:lnTo>
                    <a:lnTo>
                      <a:pt x="172336" y="55081"/>
                    </a:lnTo>
                    <a:close/>
                  </a:path>
                </a:pathLst>
              </a:custGeom>
              <a:solidFill>
                <a:srgbClr val="FFFFFF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57C058CC-2159-F5FE-EDE6-B4432F93FE1E}"/>
                </a:ext>
              </a:extLst>
            </p:cNvPr>
            <p:cNvSpPr txBox="1"/>
            <p:nvPr/>
          </p:nvSpPr>
          <p:spPr>
            <a:xfrm>
              <a:off x="132700" y="882000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SOZIALE</a:t>
              </a:r>
            </a:p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HERKUNFT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9B844F73-F166-B9E5-15D4-26BB0C9C9089}"/>
                </a:ext>
              </a:extLst>
            </p:cNvPr>
            <p:cNvSpPr txBox="1"/>
            <p:nvPr/>
          </p:nvSpPr>
          <p:spPr>
            <a:xfrm>
              <a:off x="1363720" y="882000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RELIGION/</a:t>
              </a:r>
            </a:p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GLAUBE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4373D539-5AD0-645E-0961-9CF3C429C331}"/>
                </a:ext>
              </a:extLst>
            </p:cNvPr>
            <p:cNvSpPr txBox="1"/>
            <p:nvPr/>
          </p:nvSpPr>
          <p:spPr>
            <a:xfrm>
              <a:off x="2518345" y="882000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KÖRPERLICHE UND MENTALE FÄHIGKEITEN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E31183DE-7F30-9F2B-7811-6C3E7F12780A}"/>
                </a:ext>
              </a:extLst>
            </p:cNvPr>
            <p:cNvSpPr txBox="1"/>
            <p:nvPr/>
          </p:nvSpPr>
          <p:spPr>
            <a:xfrm>
              <a:off x="3627063" y="882000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LGBTQIA+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862F6244-D9E9-9F42-5066-EFBEFA1A2C96}"/>
                </a:ext>
              </a:extLst>
            </p:cNvPr>
            <p:cNvSpPr txBox="1"/>
            <p:nvPr/>
          </p:nvSpPr>
          <p:spPr>
            <a:xfrm>
              <a:off x="4809600" y="873708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ETHNIZITÄT/</a:t>
              </a:r>
              <a:br>
                <a:rPr lang="de-DE" sz="1200">
                  <a:solidFill>
                    <a:schemeClr val="bg1"/>
                  </a:solidFill>
                </a:rPr>
              </a:br>
              <a:r>
                <a:rPr lang="de-DE" sz="1200">
                  <a:solidFill>
                    <a:schemeClr val="bg1"/>
                  </a:solidFill>
                </a:rPr>
                <a:t>NATIONALITÄT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69260859-2FBE-AA36-64CD-B16A108270C8}"/>
                </a:ext>
              </a:extLst>
            </p:cNvPr>
            <p:cNvSpPr txBox="1"/>
            <p:nvPr/>
          </p:nvSpPr>
          <p:spPr>
            <a:xfrm>
              <a:off x="5939001" y="873708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GESCHLECHT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C04DE9C4-B248-EA60-8F16-2E8E630BF4CC}"/>
                </a:ext>
              </a:extLst>
            </p:cNvPr>
            <p:cNvSpPr txBox="1"/>
            <p:nvPr/>
          </p:nvSpPr>
          <p:spPr>
            <a:xfrm>
              <a:off x="7024586" y="873708"/>
              <a:ext cx="1028008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80000"/>
                </a:lnSpc>
                <a:buClr>
                  <a:schemeClr val="tx2"/>
                </a:buClr>
                <a:buSzPct val="100000"/>
              </a:pPr>
              <a:r>
                <a:rPr lang="de-DE" sz="1200">
                  <a:solidFill>
                    <a:schemeClr val="bg1"/>
                  </a:solidFill>
                </a:rPr>
                <a:t>ALTER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1307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6979050" cy="6858000"/>
          </a:xfrm>
          <a:custGeom>
            <a:avLst/>
            <a:gdLst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6960000 w 6960000"/>
              <a:gd name="connsiteY2" fmla="*/ 6858000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5826525 w 6960000"/>
              <a:gd name="connsiteY2" fmla="*/ 6848475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5340750 w 6960000"/>
              <a:gd name="connsiteY2" fmla="*/ 6838950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67525"/>
              <a:gd name="connsiteX1" fmla="*/ 6960000 w 6960000"/>
              <a:gd name="connsiteY1" fmla="*/ 0 h 6867525"/>
              <a:gd name="connsiteX2" fmla="*/ 5721750 w 6960000"/>
              <a:gd name="connsiteY2" fmla="*/ 6867525 h 6867525"/>
              <a:gd name="connsiteX3" fmla="*/ 0 w 6960000"/>
              <a:gd name="connsiteY3" fmla="*/ 6858000 h 6867525"/>
              <a:gd name="connsiteX4" fmla="*/ 0 w 6960000"/>
              <a:gd name="connsiteY4" fmla="*/ 0 h 6867525"/>
              <a:gd name="connsiteX0" fmla="*/ 0 w 6979050"/>
              <a:gd name="connsiteY0" fmla="*/ 0 h 6867525"/>
              <a:gd name="connsiteX1" fmla="*/ 6979050 w 6979050"/>
              <a:gd name="connsiteY1" fmla="*/ 0 h 6867525"/>
              <a:gd name="connsiteX2" fmla="*/ 5721750 w 6979050"/>
              <a:gd name="connsiteY2" fmla="*/ 6867525 h 6867525"/>
              <a:gd name="connsiteX3" fmla="*/ 0 w 6979050"/>
              <a:gd name="connsiteY3" fmla="*/ 6858000 h 6867525"/>
              <a:gd name="connsiteX4" fmla="*/ 0 w 6979050"/>
              <a:gd name="connsiteY4" fmla="*/ 0 h 6867525"/>
              <a:gd name="connsiteX0" fmla="*/ 0 w 6979050"/>
              <a:gd name="connsiteY0" fmla="*/ 0 h 6867525"/>
              <a:gd name="connsiteX1" fmla="*/ 6979050 w 6979050"/>
              <a:gd name="connsiteY1" fmla="*/ 0 h 6867525"/>
              <a:gd name="connsiteX2" fmla="*/ 5721750 w 6979050"/>
              <a:gd name="connsiteY2" fmla="*/ 6867525 h 6867525"/>
              <a:gd name="connsiteX3" fmla="*/ 0 w 6979050"/>
              <a:gd name="connsiteY3" fmla="*/ 6865630 h 6867525"/>
              <a:gd name="connsiteX4" fmla="*/ 0 w 6979050"/>
              <a:gd name="connsiteY4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67525">
                <a:moveTo>
                  <a:pt x="0" y="0"/>
                </a:moveTo>
                <a:lnTo>
                  <a:pt x="6979050" y="0"/>
                </a:lnTo>
                <a:lnTo>
                  <a:pt x="5721750" y="6867525"/>
                </a:lnTo>
                <a:lnTo>
                  <a:pt x="0" y="686563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176120" y="1484784"/>
            <a:ext cx="4536455" cy="2141182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176120" y="3789096"/>
            <a:ext cx="4536455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F5CEFAF-2CFF-462C-BAC9-15D79D92658E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19580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B265250-D007-4055-8AD2-8B389CFC89F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4677571"/>
            <a:ext cx="5040511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425" y="2348880"/>
            <a:ext cx="5040511" cy="216024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285C83B-D68C-44CE-9E21-944615AB21C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2494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B48213B-79DD-4F40-8139-720BAB1AE3A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6858001"/>
              <a:gd name="connsiteX1" fmla="*/ 12192000 w 12192000"/>
              <a:gd name="connsiteY1" fmla="*/ 0 h 6858001"/>
              <a:gd name="connsiteX2" fmla="*/ 12192000 w 12192000"/>
              <a:gd name="connsiteY2" fmla="*/ 2069183 h 6858001"/>
              <a:gd name="connsiteX3" fmla="*/ 6630185 w 12192000"/>
              <a:gd name="connsiteY3" fmla="*/ 2069183 h 6858001"/>
              <a:gd name="connsiteX4" fmla="*/ 5725212 w 12192000"/>
              <a:gd name="connsiteY4" fmla="*/ 6858000 h 6858001"/>
              <a:gd name="connsiteX5" fmla="*/ 12192000 w 12192000"/>
              <a:gd name="connsiteY5" fmla="*/ 6858000 h 6858001"/>
              <a:gd name="connsiteX6" fmla="*/ 12192000 w 12192000"/>
              <a:gd name="connsiteY6" fmla="*/ 6858001 h 6858001"/>
              <a:gd name="connsiteX7" fmla="*/ 0 w 12192000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12192000" y="6858000"/>
                </a:lnTo>
                <a:lnTo>
                  <a:pt x="12192000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744607" y="2348880"/>
            <a:ext cx="4967967" cy="2160240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44607" y="4672185"/>
            <a:ext cx="4967967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6EDAC69-4A0E-408F-872B-286FF092685D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283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E1DF4CD-8894-452D-8BD0-03DE6F8197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248114" y="368"/>
            <a:ext cx="4943886" cy="6857633"/>
          </a:xfrm>
          <a:custGeom>
            <a:avLst/>
            <a:gdLst>
              <a:gd name="connsiteX0" fmla="*/ 4943886 w 4943886"/>
              <a:gd name="connsiteY0" fmla="*/ 0 h 6857633"/>
              <a:gd name="connsiteX1" fmla="*/ 4943886 w 4943886"/>
              <a:gd name="connsiteY1" fmla="*/ 6857633 h 6857633"/>
              <a:gd name="connsiteX2" fmla="*/ 0 w 4943886"/>
              <a:gd name="connsiteY2" fmla="*/ 6857633 h 6857633"/>
              <a:gd name="connsiteX3" fmla="*/ 1277303 w 4943886"/>
              <a:gd name="connsiteY3" fmla="*/ 586 h 685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3">
                <a:moveTo>
                  <a:pt x="4943886" y="0"/>
                </a:moveTo>
                <a:lnTo>
                  <a:pt x="4943886" y="6857633"/>
                </a:lnTo>
                <a:lnTo>
                  <a:pt x="0" y="6857633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921" y="1989040"/>
            <a:ext cx="6623967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565160"/>
            <a:ext cx="6623967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12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439815" cy="6859807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4439815 w 4439815"/>
              <a:gd name="connsiteY2" fmla="*/ 6858000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2901301 w 4439815"/>
              <a:gd name="connsiteY2" fmla="*/ 6858000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67427"/>
              <a:gd name="connsiteX1" fmla="*/ 4439815 w 4439815"/>
              <a:gd name="connsiteY1" fmla="*/ 0 h 6867427"/>
              <a:gd name="connsiteX2" fmla="*/ 3193532 w 4439815"/>
              <a:gd name="connsiteY2" fmla="*/ 6867427 h 6867427"/>
              <a:gd name="connsiteX3" fmla="*/ 0 w 4439815"/>
              <a:gd name="connsiteY3" fmla="*/ 6858000 h 6867427"/>
              <a:gd name="connsiteX4" fmla="*/ 0 w 4439815"/>
              <a:gd name="connsiteY4" fmla="*/ 0 h 6867427"/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93532 w 4439815"/>
              <a:gd name="connsiteY2" fmla="*/ 6829327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67427"/>
              <a:gd name="connsiteX1" fmla="*/ 4439815 w 4439815"/>
              <a:gd name="connsiteY1" fmla="*/ 0 h 6867427"/>
              <a:gd name="connsiteX2" fmla="*/ 3185912 w 4439815"/>
              <a:gd name="connsiteY2" fmla="*/ 6867427 h 6867427"/>
              <a:gd name="connsiteX3" fmla="*/ 0 w 4439815"/>
              <a:gd name="connsiteY3" fmla="*/ 6858000 h 6867427"/>
              <a:gd name="connsiteX4" fmla="*/ 0 w 4439815"/>
              <a:gd name="connsiteY4" fmla="*/ 0 h 6867427"/>
              <a:gd name="connsiteX0" fmla="*/ 0 w 4439815"/>
              <a:gd name="connsiteY0" fmla="*/ 0 h 6859807"/>
              <a:gd name="connsiteX1" fmla="*/ 4439815 w 4439815"/>
              <a:gd name="connsiteY1" fmla="*/ 0 h 6859807"/>
              <a:gd name="connsiteX2" fmla="*/ 3185912 w 4439815"/>
              <a:gd name="connsiteY2" fmla="*/ 6859807 h 6859807"/>
              <a:gd name="connsiteX3" fmla="*/ 0 w 4439815"/>
              <a:gd name="connsiteY3" fmla="*/ 6858000 h 6859807"/>
              <a:gd name="connsiteX4" fmla="*/ 0 w 4439815"/>
              <a:gd name="connsiteY4" fmla="*/ 0 h 6859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9815" h="6859807">
                <a:moveTo>
                  <a:pt x="0" y="0"/>
                </a:moveTo>
                <a:lnTo>
                  <a:pt x="4439815" y="0"/>
                </a:lnTo>
                <a:lnTo>
                  <a:pt x="3185912" y="6859807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2624" y="1989152"/>
            <a:ext cx="6840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72624" y="2565160"/>
            <a:ext cx="6840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</p:spTree>
    <p:extLst>
      <p:ext uri="{BB962C8B-B14F-4D97-AF65-F5344CB8AC3E}">
        <p14:creationId xmlns:p14="http://schemas.microsoft.com/office/powerpoint/2010/main" val="622462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-7621"/>
            <a:ext cx="7282560" cy="6865621"/>
          </a:xfrm>
          <a:custGeom>
            <a:avLst/>
            <a:gdLst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7221600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6191086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6011976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82560"/>
              <a:gd name="connsiteY0" fmla="*/ 7620 h 6865621"/>
              <a:gd name="connsiteX1" fmla="*/ 7282560 w 7282560"/>
              <a:gd name="connsiteY1" fmla="*/ 0 h 6865621"/>
              <a:gd name="connsiteX2" fmla="*/ 6011976 w 7282560"/>
              <a:gd name="connsiteY2" fmla="*/ 6865621 h 6865621"/>
              <a:gd name="connsiteX3" fmla="*/ 0 w 7282560"/>
              <a:gd name="connsiteY3" fmla="*/ 6865621 h 6865621"/>
              <a:gd name="connsiteX4" fmla="*/ 0 w 7282560"/>
              <a:gd name="connsiteY4" fmla="*/ 7620 h 6865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560" h="6865621">
                <a:moveTo>
                  <a:pt x="0" y="7620"/>
                </a:moveTo>
                <a:lnTo>
                  <a:pt x="7282560" y="0"/>
                </a:lnTo>
                <a:lnTo>
                  <a:pt x="6011976" y="6865621"/>
                </a:lnTo>
                <a:lnTo>
                  <a:pt x="0" y="6865621"/>
                </a:lnTo>
                <a:lnTo>
                  <a:pt x="0" y="762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47879" y="1988896"/>
            <a:ext cx="4463967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607" y="2564904"/>
            <a:ext cx="4463967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</p:spTree>
    <p:extLst>
      <p:ext uri="{BB962C8B-B14F-4D97-AF65-F5344CB8AC3E}">
        <p14:creationId xmlns:p14="http://schemas.microsoft.com/office/powerpoint/2010/main" val="103201165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93F1312-E045-45D5-9070-E0D61D8956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692ADA0-679C-43D9-930B-FB6BDFB47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392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3170187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C3C8D43-F8E1-4367-BB8F-7759C6A959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546B32-07BA-4070-BBA7-C367DADD0E5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174D9B-A812-4AC8-8FF6-119DB4001E7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37130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69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00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F96E58-B088-4C9A-B95A-5833E90EA5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43D715B-42D7-4FC5-83D7-9CCA39782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7575471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CA7C599-0E6E-49E1-9D05-8E1D4904CE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88285B-656A-46D7-9D10-F3F7A60D22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FA7C18-CE42-476F-90D2-91ADEB7F56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91628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564781-2404-4FF8-A9BD-E631E14CD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ADD24D-1F9E-4AE2-815B-2A2EDE190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387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40pt (zweizeilig 24pt/ZAB 1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9426" y="1484312"/>
            <a:ext cx="5472574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240000" y="1483726"/>
            <a:ext cx="5472574" cy="48980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43D4AE-F04C-4237-BB6B-D67F3B892E4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D598E1-62EA-4795-90EA-8F695DBCDAD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861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9426" y="1484312"/>
            <a:ext cx="3529012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295775" y="1484312"/>
            <a:ext cx="3600449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8183562" y="1484313"/>
            <a:ext cx="3529012" cy="4897436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B16A52-AE09-4948-8DF9-4004129338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16F0E-8AF4-451F-A925-70E7CD1322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6848C-A910-4B98-9EBE-6A0B05104B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22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9426" y="1484312"/>
            <a:ext cx="2592387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3359150" y="1484312"/>
            <a:ext cx="2592850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240000" y="1484313"/>
            <a:ext cx="2592850" cy="4897436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9120188" y="1484312"/>
            <a:ext cx="2592436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FD89758-0A7E-4F59-A16D-4F467CD0A3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897E759-A0F8-42E9-9CD4-15F5A7029B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681CE6-AA0E-41E0-B1B8-62B0616A8D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450657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9426" y="1484312"/>
            <a:ext cx="3529012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295775" y="1484312"/>
            <a:ext cx="3600450" cy="4897438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F4F901B-999A-4448-9B6C-BB2DD3409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C6B626-3F28-42E2-BDB6-79403963ED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D4FC5-91F5-4739-AFC6-30D6BF15FD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68B3DEF-5D89-4E68-BBC9-708EF6FB67FF}"/>
              </a:ext>
            </a:extLst>
          </p:cNvPr>
          <p:cNvSpPr/>
          <p:nvPr userDrawn="1"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53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2E41C23-DBA4-4BF0-B89F-11655B943E1C}"/>
              </a:ext>
            </a:extLst>
          </p:cNvPr>
          <p:cNvSpPr/>
          <p:nvPr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79426" y="1484588"/>
            <a:ext cx="3529012" cy="489716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FC13B79-0DFD-4CEC-A966-6723099FB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936467-79DE-408A-9288-FD592AFB4D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61C14-5D57-4EFA-B97C-599896DDDB6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929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920536" y="0"/>
            <a:ext cx="1271464" cy="6858000"/>
          </a:xfrm>
          <a:custGeom>
            <a:avLst/>
            <a:gdLst>
              <a:gd name="connsiteX0" fmla="*/ 0 w 1271464"/>
              <a:gd name="connsiteY0" fmla="*/ 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0 w 1271464"/>
              <a:gd name="connsiteY4" fmla="*/ 0 h 6858000"/>
              <a:gd name="connsiteX0" fmla="*/ 1219200 w 1271464"/>
              <a:gd name="connsiteY0" fmla="*/ 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1219200 w 1271464"/>
              <a:gd name="connsiteY4" fmla="*/ 0 h 6858000"/>
              <a:gd name="connsiteX0" fmla="*/ 1270000 w 1271464"/>
              <a:gd name="connsiteY0" fmla="*/ 0 h 6861175"/>
              <a:gd name="connsiteX1" fmla="*/ 1271464 w 1271464"/>
              <a:gd name="connsiteY1" fmla="*/ 3175 h 6861175"/>
              <a:gd name="connsiteX2" fmla="*/ 1271464 w 1271464"/>
              <a:gd name="connsiteY2" fmla="*/ 6861175 h 6861175"/>
              <a:gd name="connsiteX3" fmla="*/ 0 w 1271464"/>
              <a:gd name="connsiteY3" fmla="*/ 6861175 h 6861175"/>
              <a:gd name="connsiteX4" fmla="*/ 1270000 w 1271464"/>
              <a:gd name="connsiteY4" fmla="*/ 0 h 6861175"/>
              <a:gd name="connsiteX0" fmla="*/ 1069975 w 1271464"/>
              <a:gd name="connsiteY0" fmla="*/ 28575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1069975 w 1271464"/>
              <a:gd name="connsiteY4" fmla="*/ 28575 h 6858000"/>
              <a:gd name="connsiteX0" fmla="*/ 0 w 1271464"/>
              <a:gd name="connsiteY0" fmla="*/ 685800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1464" h="6858000">
                <a:moveTo>
                  <a:pt x="0" y="6858000"/>
                </a:moveTo>
                <a:lnTo>
                  <a:pt x="1271464" y="0"/>
                </a:ln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224000" bIns="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Platz für Verlauf oder Weißra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3128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„Hier steht ein aussagekräftiges Zitat, mehrzeilig möglich“</a:t>
            </a:r>
          </a:p>
          <a:p>
            <a:pPr lvl="1"/>
            <a:r>
              <a:rPr lang="de-DE"/>
              <a:t>– Autor*in</a:t>
            </a:r>
          </a:p>
        </p:txBody>
      </p:sp>
    </p:spTree>
    <p:extLst>
      <p:ext uri="{BB962C8B-B14F-4D97-AF65-F5344CB8AC3E}">
        <p14:creationId xmlns:p14="http://schemas.microsoft.com/office/powerpoint/2010/main" val="1677249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462" y="1484313"/>
            <a:ext cx="5952753" cy="4897436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479425" y="1484312"/>
            <a:ext cx="5472575" cy="489743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79DC84-97CC-429B-A8B5-BB4CABB1E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03D6D9-C7E4-4104-90EE-44FE4DB1BE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0DFC7-F4F4-4DD4-82DD-D04856314D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7764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8183562" y="1484312"/>
            <a:ext cx="3529012" cy="4897437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426" y="1485312"/>
            <a:ext cx="7416799" cy="4896438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F18F8B3-5B0B-4B00-9A51-9AFBFAAE9B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7B95D8-AE98-4E97-AEE4-0B919EB39B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4135F4-2925-4650-8F4F-8303582022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8566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8" name="Freeform: Shape 12">
            <a:extLst>
              <a:ext uri="{FF2B5EF4-FFF2-40B4-BE49-F238E27FC236}">
                <a16:creationId xmlns:a16="http://schemas.microsoft.com/office/drawing/2014/main" id="{9D0862D2-AED8-4E0B-92B3-CB48CC15A0E0}"/>
              </a:ext>
            </a:extLst>
          </p:cNvPr>
          <p:cNvSpPr/>
          <p:nvPr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1D49593-9508-492B-90C5-F09125A9C1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C7C8EAF-3E10-43D6-9B69-D139BF64DF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321126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39BD02-A183-4E01-B035-E928F9FB0A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2954FC-2F7F-4570-9323-89E4D1B1B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00055839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D3B853-5A00-4DC4-B55D-EDC486B53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366863-9DA6-4A64-90AF-C4B8EB767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961148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E537E5-6A69-47B9-989E-756E805FCE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991664" y="0"/>
            <a:ext cx="10200336" cy="6858000"/>
          </a:xfrm>
          <a:custGeom>
            <a:avLst/>
            <a:gdLst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00336" h="6858000">
                <a:moveTo>
                  <a:pt x="0" y="0"/>
                </a:moveTo>
                <a:lnTo>
                  <a:pt x="10200336" y="0"/>
                </a:lnTo>
                <a:lnTo>
                  <a:pt x="10200336" y="6858000"/>
                </a:lnTo>
                <a:lnTo>
                  <a:pt x="4471274" y="6858000"/>
                </a:lnTo>
                <a:cubicBezTo>
                  <a:pt x="4990624" y="2752725"/>
                  <a:pt x="1814275" y="4953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276872"/>
            <a:ext cx="4248000" cy="2160048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520"/>
            <a:ext cx="424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A2AB154-A137-46F5-A7B6-0822386459AE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917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B02DD6B-E717-464F-A3B5-917B8740A6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327210" cy="6858000"/>
          </a:xfrm>
          <a:custGeom>
            <a:avLst/>
            <a:gdLst>
              <a:gd name="connsiteX0" fmla="*/ 0 w 9327210"/>
              <a:gd name="connsiteY0" fmla="*/ 0 h 6858000"/>
              <a:gd name="connsiteX1" fmla="*/ 9327210 w 9327210"/>
              <a:gd name="connsiteY1" fmla="*/ 0 h 6858000"/>
              <a:gd name="connsiteX2" fmla="*/ 9235979 w 9327210"/>
              <a:gd name="connsiteY2" fmla="*/ 25804 h 6858000"/>
              <a:gd name="connsiteX3" fmla="*/ 4808914 w 9327210"/>
              <a:gd name="connsiteY3" fmla="*/ 6019305 h 6858000"/>
              <a:gd name="connsiteX4" fmla="*/ 4841444 w 9327210"/>
              <a:gd name="connsiteY4" fmla="*/ 6660953 h 6858000"/>
              <a:gd name="connsiteX5" fmla="*/ 4866583 w 9327210"/>
              <a:gd name="connsiteY5" fmla="*/ 6858000 h 6858000"/>
              <a:gd name="connsiteX6" fmla="*/ 0 w 93272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27210" h="6858000">
                <a:moveTo>
                  <a:pt x="0" y="0"/>
                </a:moveTo>
                <a:lnTo>
                  <a:pt x="9327210" y="0"/>
                </a:lnTo>
                <a:lnTo>
                  <a:pt x="9235979" y="25804"/>
                </a:lnTo>
                <a:cubicBezTo>
                  <a:pt x="6671162" y="820372"/>
                  <a:pt x="4808914" y="3203228"/>
                  <a:pt x="4808914" y="6019305"/>
                </a:cubicBezTo>
                <a:cubicBezTo>
                  <a:pt x="4808914" y="6235927"/>
                  <a:pt x="4819934" y="6449984"/>
                  <a:pt x="4841444" y="6660953"/>
                </a:cubicBezTo>
                <a:lnTo>
                  <a:pt x="486658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816624" y="2276872"/>
            <a:ext cx="4896000" cy="2160024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816624" y="4602496"/>
            <a:ext cx="489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209902F4-A1E3-4594-8358-406C81CCF71D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6849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958CFB5-8C1F-4436-8F1F-5807AE5B9F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073594" y="0"/>
            <a:ext cx="6118406" cy="6858000"/>
          </a:xfrm>
          <a:custGeom>
            <a:avLst/>
            <a:gdLst>
              <a:gd name="connsiteX0" fmla="*/ 20730 w 6118406"/>
              <a:gd name="connsiteY0" fmla="*/ 0 h 6858000"/>
              <a:gd name="connsiteX1" fmla="*/ 6118406 w 6118406"/>
              <a:gd name="connsiteY1" fmla="*/ 0 h 6858000"/>
              <a:gd name="connsiteX2" fmla="*/ 6118406 w 6118406"/>
              <a:gd name="connsiteY2" fmla="*/ 6858000 h 6858000"/>
              <a:gd name="connsiteX3" fmla="*/ 0 w 6118406"/>
              <a:gd name="connsiteY3" fmla="*/ 6858000 h 6858000"/>
              <a:gd name="connsiteX4" fmla="*/ 8120 w 6118406"/>
              <a:gd name="connsiteY4" fmla="*/ 6843935 h 6858000"/>
              <a:gd name="connsiteX5" fmla="*/ 881170 w 6118406"/>
              <a:gd name="connsiteY5" fmla="*/ 3409705 h 6858000"/>
              <a:gd name="connsiteX6" fmla="*/ 167863 w 6118406"/>
              <a:gd name="connsiteY6" fmla="*/ 2861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18406" h="6858000">
                <a:moveTo>
                  <a:pt x="20730" y="0"/>
                </a:moveTo>
                <a:lnTo>
                  <a:pt x="6118406" y="0"/>
                </a:lnTo>
                <a:lnTo>
                  <a:pt x="6118406" y="6858000"/>
                </a:lnTo>
                <a:lnTo>
                  <a:pt x="0" y="6858000"/>
                </a:lnTo>
                <a:lnTo>
                  <a:pt x="8120" y="6843935"/>
                </a:lnTo>
                <a:cubicBezTo>
                  <a:pt x="564903" y="5823066"/>
                  <a:pt x="881170" y="4653173"/>
                  <a:pt x="881170" y="3409705"/>
                </a:cubicBezTo>
                <a:cubicBezTo>
                  <a:pt x="881170" y="2290585"/>
                  <a:pt x="624994" y="1231061"/>
                  <a:pt x="167863" y="28613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456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132856"/>
            <a:ext cx="5472000" cy="230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B199DD7-6FA4-492B-8147-CEB7919A57EA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21278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240016" y="2276872"/>
            <a:ext cx="5472000" cy="2160016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016" y="4602488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5CDD108-9D7B-4ACC-B30A-C902043893F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6120000" cy="6858000"/>
          </a:xfrm>
          <a:custGeom>
            <a:avLst/>
            <a:gdLst>
              <a:gd name="connsiteX0" fmla="*/ 0 w 6120000"/>
              <a:gd name="connsiteY0" fmla="*/ 0 h 6858000"/>
              <a:gd name="connsiteX1" fmla="*/ 6098154 w 6120000"/>
              <a:gd name="connsiteY1" fmla="*/ 0 h 6858000"/>
              <a:gd name="connsiteX2" fmla="*/ 5965018 w 6120000"/>
              <a:gd name="connsiteY2" fmla="*/ 259205 h 6858000"/>
              <a:gd name="connsiteX3" fmla="*/ 5246829 w 6120000"/>
              <a:gd name="connsiteY3" fmla="*/ 3407734 h 6858000"/>
              <a:gd name="connsiteX4" fmla="*/ 5965018 w 6120000"/>
              <a:gd name="connsiteY4" fmla="*/ 6556263 h 6858000"/>
              <a:gd name="connsiteX5" fmla="*/ 6120000 w 6120000"/>
              <a:gd name="connsiteY5" fmla="*/ 6858000 h 6858000"/>
              <a:gd name="connsiteX6" fmla="*/ 0 w 6120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0000" h="6858000">
                <a:moveTo>
                  <a:pt x="0" y="0"/>
                </a:moveTo>
                <a:lnTo>
                  <a:pt x="6098154" y="0"/>
                </a:lnTo>
                <a:lnTo>
                  <a:pt x="5965018" y="259205"/>
                </a:lnTo>
                <a:cubicBezTo>
                  <a:pt x="5504759" y="1211683"/>
                  <a:pt x="5246829" y="2279673"/>
                  <a:pt x="5246829" y="3407734"/>
                </a:cubicBezTo>
                <a:cubicBezTo>
                  <a:pt x="5246829" y="4535796"/>
                  <a:pt x="5504759" y="5603786"/>
                  <a:pt x="5965018" y="6556263"/>
                </a:cubicBezTo>
                <a:lnTo>
                  <a:pt x="6120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295D1AD-7BD3-4C8F-A428-DA13ACC704B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09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28D2AA0-1F0D-4D8F-9B2D-220CA54171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386108" cy="6858000"/>
          </a:xfrm>
          <a:custGeom>
            <a:avLst/>
            <a:gdLst>
              <a:gd name="connsiteX0" fmla="*/ 0 w 4386108"/>
              <a:gd name="connsiteY0" fmla="*/ 0 h 6858000"/>
              <a:gd name="connsiteX1" fmla="*/ 4386108 w 4386108"/>
              <a:gd name="connsiteY1" fmla="*/ 0 h 6858000"/>
              <a:gd name="connsiteX2" fmla="*/ 4298433 w 4386108"/>
              <a:gd name="connsiteY2" fmla="*/ 111568 h 6858000"/>
              <a:gd name="connsiteX3" fmla="*/ 3196914 w 4386108"/>
              <a:gd name="connsiteY3" fmla="*/ 3429000 h 6858000"/>
              <a:gd name="connsiteX4" fmla="*/ 4298433 w 4386108"/>
              <a:gd name="connsiteY4" fmla="*/ 6746432 h 6858000"/>
              <a:gd name="connsiteX5" fmla="*/ 4386108 w 4386108"/>
              <a:gd name="connsiteY5" fmla="*/ 6858000 h 6858000"/>
              <a:gd name="connsiteX6" fmla="*/ 0 w 438610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6108" h="6858000">
                <a:moveTo>
                  <a:pt x="0" y="0"/>
                </a:moveTo>
                <a:lnTo>
                  <a:pt x="4386108" y="0"/>
                </a:lnTo>
                <a:lnTo>
                  <a:pt x="4298433" y="111568"/>
                </a:lnTo>
                <a:cubicBezTo>
                  <a:pt x="3606609" y="1036646"/>
                  <a:pt x="3196914" y="2184979"/>
                  <a:pt x="3196914" y="3429000"/>
                </a:cubicBezTo>
                <a:cubicBezTo>
                  <a:pt x="3196914" y="4673022"/>
                  <a:pt x="3606609" y="5821354"/>
                  <a:pt x="4298433" y="6746432"/>
                </a:cubicBezTo>
                <a:lnTo>
                  <a:pt x="43861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96624" y="1918800"/>
            <a:ext cx="7416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296295" y="2494800"/>
            <a:ext cx="7416000" cy="2448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521503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1BDEBC-6FA6-4476-95D8-2B2706F2051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747654" y="0"/>
            <a:ext cx="6444347" cy="6858000"/>
          </a:xfrm>
          <a:custGeom>
            <a:avLst/>
            <a:gdLst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44347" h="6858000">
                <a:moveTo>
                  <a:pt x="46363" y="0"/>
                </a:moveTo>
                <a:lnTo>
                  <a:pt x="6444347" y="0"/>
                </a:lnTo>
                <a:lnTo>
                  <a:pt x="6444347" y="6858000"/>
                </a:lnTo>
                <a:lnTo>
                  <a:pt x="0" y="6858000"/>
                </a:lnTo>
                <a:cubicBezTo>
                  <a:pt x="1793454" y="3492500"/>
                  <a:pt x="196009" y="520700"/>
                  <a:pt x="463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1918800"/>
            <a:ext cx="547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487600"/>
            <a:ext cx="5472000" cy="2520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4245995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A2E5588-AEC6-4E34-BA4C-827EC78D795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12191998" cy="6858000"/>
          </a:xfrm>
          <a:custGeom>
            <a:avLst/>
            <a:gdLst>
              <a:gd name="connsiteX0" fmla="*/ 4770500 w 12191998"/>
              <a:gd name="connsiteY0" fmla="*/ 0 h 6858000"/>
              <a:gd name="connsiteX1" fmla="*/ 12191998 w 12191998"/>
              <a:gd name="connsiteY1" fmla="*/ 0 h 6858000"/>
              <a:gd name="connsiteX2" fmla="*/ 12191998 w 12191998"/>
              <a:gd name="connsiteY2" fmla="*/ 6858000 h 6858000"/>
              <a:gd name="connsiteX3" fmla="*/ 0 w 12191998"/>
              <a:gd name="connsiteY3" fmla="*/ 6858000 h 6858000"/>
              <a:gd name="connsiteX4" fmla="*/ 0 w 12191998"/>
              <a:gd name="connsiteY4" fmla="*/ 4582554 h 6858000"/>
              <a:gd name="connsiteX5" fmla="*/ 33987 w 12191998"/>
              <a:gd name="connsiteY5" fmla="*/ 4613444 h 6858000"/>
              <a:gd name="connsiteX6" fmla="*/ 2150404 w 12191998"/>
              <a:gd name="connsiteY6" fmla="*/ 5373217 h 6858000"/>
              <a:gd name="connsiteX7" fmla="*/ 5477619 w 12191998"/>
              <a:gd name="connsiteY7" fmla="*/ 2046003 h 6858000"/>
              <a:gd name="connsiteX8" fmla="*/ 4909383 w 12191998"/>
              <a:gd name="connsiteY8" fmla="*/ 1857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8" h="6858000">
                <a:moveTo>
                  <a:pt x="477050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lnTo>
                  <a:pt x="0" y="4582554"/>
                </a:lnTo>
                <a:lnTo>
                  <a:pt x="33987" y="4613444"/>
                </a:lnTo>
                <a:cubicBezTo>
                  <a:pt x="609126" y="5088090"/>
                  <a:pt x="1346467" y="5373217"/>
                  <a:pt x="2150404" y="5373217"/>
                </a:cubicBezTo>
                <a:cubicBezTo>
                  <a:pt x="3987974" y="5373217"/>
                  <a:pt x="5477619" y="3883573"/>
                  <a:pt x="5477619" y="2046003"/>
                </a:cubicBezTo>
                <a:cubicBezTo>
                  <a:pt x="5477619" y="1356914"/>
                  <a:pt x="5268137" y="716753"/>
                  <a:pt x="4909383" y="1857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888521"/>
            <a:ext cx="421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1449008"/>
            <a:ext cx="4212000" cy="2052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30215986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6DE41FF-A31E-450A-9DDA-F42B5F5010A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783776" cy="6858000"/>
          </a:xfrm>
          <a:custGeom>
            <a:avLst/>
            <a:gdLst>
              <a:gd name="connsiteX0" fmla="*/ 0 w 4783776"/>
              <a:gd name="connsiteY0" fmla="*/ 0 h 6858000"/>
              <a:gd name="connsiteX1" fmla="*/ 4783776 w 4783776"/>
              <a:gd name="connsiteY1" fmla="*/ 0 h 6858000"/>
              <a:gd name="connsiteX2" fmla="*/ 4638208 w 4783776"/>
              <a:gd name="connsiteY2" fmla="*/ 283801 h 6858000"/>
              <a:gd name="connsiteX3" fmla="*/ 3920606 w 4783776"/>
              <a:gd name="connsiteY3" fmla="*/ 3434065 h 6858000"/>
              <a:gd name="connsiteX4" fmla="*/ 4638208 w 4783776"/>
              <a:gd name="connsiteY4" fmla="*/ 6584329 h 6858000"/>
              <a:gd name="connsiteX5" fmla="*/ 4778580 w 4783776"/>
              <a:gd name="connsiteY5" fmla="*/ 6858000 h 6858000"/>
              <a:gd name="connsiteX6" fmla="*/ 0 w 478377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3776" h="6858000">
                <a:moveTo>
                  <a:pt x="0" y="0"/>
                </a:moveTo>
                <a:lnTo>
                  <a:pt x="4783776" y="0"/>
                </a:lnTo>
                <a:lnTo>
                  <a:pt x="4638208" y="283801"/>
                </a:lnTo>
                <a:cubicBezTo>
                  <a:pt x="4178324" y="1236804"/>
                  <a:pt x="3920606" y="2305382"/>
                  <a:pt x="3920606" y="3434065"/>
                </a:cubicBezTo>
                <a:cubicBezTo>
                  <a:pt x="3920606" y="4562748"/>
                  <a:pt x="4178324" y="5631327"/>
                  <a:pt x="4638208" y="6584329"/>
                </a:cubicBezTo>
                <a:lnTo>
                  <a:pt x="4778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1502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4588"/>
            <a:ext cx="3528000" cy="489716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2A89A98-38F0-4125-B055-9C860DA9FC1A}"/>
              </a:ext>
            </a:extLst>
          </p:cNvPr>
          <p:cNvSpPr/>
          <p:nvPr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FBB1CA-C61D-4A97-B9D5-A805CCF931E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F85986-C820-4AB9-8209-3195C3E49A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342054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99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BE8FA9-FB77-4463-83F0-AF072D7E3A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A6902A-81C8-466B-AA0A-0E02C10B09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90116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3BB7C4E-FA89-4BC3-9699-0EEA1129D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527150-B132-4DFB-A04A-714DA2CB7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67503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F41E370-9CFD-4AA6-B2B3-A21125A6A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B3CF91-D2AC-40E9-9A32-AE71C2ECC7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7261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16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339C87-5F5C-42C8-86A5-C42DFB68F7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29173B-4EAA-4A0C-B4D7-CFA8E1B29F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574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26C817-A060-46FE-B240-4BCC162912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65EDE6-32DB-448E-93D2-8C64C332AD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043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98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1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9E6A59E-65A1-4892-A9F2-DD292EB15F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58D5B3-9FB9-4530-9272-CEDC802542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56629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937B04E-44DD-4465-BC45-AE8613AEB878}"/>
              </a:ext>
            </a:extLst>
          </p:cNvPr>
          <p:cNvSpPr/>
          <p:nvPr userDrawn="1"/>
        </p:nvSpPr>
        <p:spPr bwMode="gray">
          <a:xfrm>
            <a:off x="8112000" y="2852712"/>
            <a:ext cx="4080000" cy="4005288"/>
          </a:xfrm>
          <a:custGeom>
            <a:avLst/>
            <a:gdLst>
              <a:gd name="connsiteX0" fmla="*/ 2484388 w 4080000"/>
              <a:gd name="connsiteY0" fmla="*/ 0 h 4005288"/>
              <a:gd name="connsiteX1" fmla="*/ 4064690 w 4080000"/>
              <a:gd name="connsiteY1" fmla="*/ 567314 h 4005288"/>
              <a:gd name="connsiteX2" fmla="*/ 4080000 w 4080000"/>
              <a:gd name="connsiteY2" fmla="*/ 581229 h 4005288"/>
              <a:gd name="connsiteX3" fmla="*/ 4080000 w 4080000"/>
              <a:gd name="connsiteY3" fmla="*/ 4005288 h 4005288"/>
              <a:gd name="connsiteX4" fmla="*/ 522894 w 4080000"/>
              <a:gd name="connsiteY4" fmla="*/ 4005288 h 4005288"/>
              <a:gd name="connsiteX5" fmla="*/ 424294 w 4080000"/>
              <a:gd name="connsiteY5" fmla="*/ 3873433 h 4005288"/>
              <a:gd name="connsiteX6" fmla="*/ 0 w 4080000"/>
              <a:gd name="connsiteY6" fmla="*/ 2484388 h 4005288"/>
              <a:gd name="connsiteX7" fmla="*/ 2484388 w 4080000"/>
              <a:gd name="connsiteY7" fmla="*/ 0 h 400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80000" h="4005288">
                <a:moveTo>
                  <a:pt x="2484388" y="0"/>
                </a:moveTo>
                <a:cubicBezTo>
                  <a:pt x="3084677" y="0"/>
                  <a:pt x="3635241" y="212901"/>
                  <a:pt x="4064690" y="567314"/>
                </a:cubicBezTo>
                <a:lnTo>
                  <a:pt x="4080000" y="581229"/>
                </a:lnTo>
                <a:lnTo>
                  <a:pt x="4080000" y="4005288"/>
                </a:lnTo>
                <a:lnTo>
                  <a:pt x="522894" y="4005288"/>
                </a:lnTo>
                <a:lnTo>
                  <a:pt x="424294" y="3873433"/>
                </a:lnTo>
                <a:cubicBezTo>
                  <a:pt x="156417" y="3476923"/>
                  <a:pt x="0" y="2998922"/>
                  <a:pt x="0" y="2484388"/>
                </a:cubicBezTo>
                <a:cubicBezTo>
                  <a:pt x="0" y="1112298"/>
                  <a:pt x="1112298" y="0"/>
                  <a:pt x="2484388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BF2E2F-9C01-40A9-862B-D0B02650150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A401E8-8CD1-42A6-A65A-9BF90656FC9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714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00CC883-E224-4B3D-90D1-3072108A83ED}"/>
              </a:ext>
            </a:extLst>
          </p:cNvPr>
          <p:cNvSpPr/>
          <p:nvPr userDrawn="1"/>
        </p:nvSpPr>
        <p:spPr bwMode="gray">
          <a:xfrm>
            <a:off x="4379547" y="1484588"/>
            <a:ext cx="7812453" cy="5373412"/>
          </a:xfrm>
          <a:custGeom>
            <a:avLst/>
            <a:gdLst>
              <a:gd name="connsiteX0" fmla="*/ 4751421 w 7812453"/>
              <a:gd name="connsiteY0" fmla="*/ 0 h 5373412"/>
              <a:gd name="connsiteX1" fmla="*/ 7773767 w 7812453"/>
              <a:gd name="connsiteY1" fmla="*/ 1084994 h 5373412"/>
              <a:gd name="connsiteX2" fmla="*/ 7812453 w 7812453"/>
              <a:gd name="connsiteY2" fmla="*/ 1118505 h 5373412"/>
              <a:gd name="connsiteX3" fmla="*/ 7812453 w 7812453"/>
              <a:gd name="connsiteY3" fmla="*/ 5373412 h 5373412"/>
              <a:gd name="connsiteX4" fmla="*/ 41836 w 7812453"/>
              <a:gd name="connsiteY4" fmla="*/ 5373412 h 5373412"/>
              <a:gd name="connsiteX5" fmla="*/ 24531 w 7812453"/>
              <a:gd name="connsiteY5" fmla="*/ 5237227 h 5373412"/>
              <a:gd name="connsiteX6" fmla="*/ 0 w 7812453"/>
              <a:gd name="connsiteY6" fmla="*/ 4751422 h 5373412"/>
              <a:gd name="connsiteX7" fmla="*/ 4751421 w 7812453"/>
              <a:gd name="connsiteY7" fmla="*/ 0 h 537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2453" h="5373412">
                <a:moveTo>
                  <a:pt x="4751421" y="0"/>
                </a:moveTo>
                <a:cubicBezTo>
                  <a:pt x="5899481" y="0"/>
                  <a:pt x="6952441" y="407176"/>
                  <a:pt x="7773767" y="1084994"/>
                </a:cubicBezTo>
                <a:lnTo>
                  <a:pt x="7812453" y="1118505"/>
                </a:lnTo>
                <a:lnTo>
                  <a:pt x="7812453" y="5373412"/>
                </a:lnTo>
                <a:lnTo>
                  <a:pt x="41836" y="5373412"/>
                </a:lnTo>
                <a:lnTo>
                  <a:pt x="24531" y="5237227"/>
                </a:lnTo>
                <a:cubicBezTo>
                  <a:pt x="8309" y="5077499"/>
                  <a:pt x="0" y="4915431"/>
                  <a:pt x="0" y="4751422"/>
                </a:cubicBezTo>
                <a:cubicBezTo>
                  <a:pt x="0" y="2127284"/>
                  <a:pt x="2127284" y="0"/>
                  <a:pt x="4751421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aseline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588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6234B7-D716-449B-A67D-3990BF8609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DA65B6-71AF-4E4F-86E6-22855CFC07C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9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3592" y="2132856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62FE07A-98B0-4A5A-92F3-2746287F5C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416480" y="0"/>
            <a:ext cx="1775520" cy="6858000"/>
          </a:xfrm>
          <a:custGeom>
            <a:avLst/>
            <a:gdLst>
              <a:gd name="connsiteX0" fmla="*/ 0 w 1775520"/>
              <a:gd name="connsiteY0" fmla="*/ 0 h 6858000"/>
              <a:gd name="connsiteX1" fmla="*/ 1775520 w 1775520"/>
              <a:gd name="connsiteY1" fmla="*/ 0 h 6858000"/>
              <a:gd name="connsiteX2" fmla="*/ 1775520 w 1775520"/>
              <a:gd name="connsiteY2" fmla="*/ 6858000 h 6858000"/>
              <a:gd name="connsiteX3" fmla="*/ 0 w 1775520"/>
              <a:gd name="connsiteY3" fmla="*/ 6858000 h 6858000"/>
              <a:gd name="connsiteX4" fmla="*/ 151459 w 1775520"/>
              <a:gd name="connsiteY4" fmla="*/ 6545094 h 6858000"/>
              <a:gd name="connsiteX5" fmla="*/ 825025 w 1775520"/>
              <a:gd name="connsiteY5" fmla="*/ 3429000 h 6858000"/>
              <a:gd name="connsiteX6" fmla="*/ 151459 w 1775520"/>
              <a:gd name="connsiteY6" fmla="*/ 3129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6858000">
                <a:moveTo>
                  <a:pt x="0" y="0"/>
                </a:moveTo>
                <a:lnTo>
                  <a:pt x="1775520" y="0"/>
                </a:lnTo>
                <a:lnTo>
                  <a:pt x="1775520" y="6858000"/>
                </a:lnTo>
                <a:lnTo>
                  <a:pt x="0" y="6858000"/>
                </a:lnTo>
                <a:lnTo>
                  <a:pt x="151459" y="6545094"/>
                </a:lnTo>
                <a:cubicBezTo>
                  <a:pt x="585184" y="5587332"/>
                  <a:pt x="825025" y="4534326"/>
                  <a:pt x="825025" y="3429000"/>
                </a:cubicBezTo>
                <a:cubicBezTo>
                  <a:pt x="825025" y="2323674"/>
                  <a:pt x="585184" y="1270668"/>
                  <a:pt x="151459" y="31290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828000" bIns="1152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</p:spTree>
    <p:extLst>
      <p:ext uri="{BB962C8B-B14F-4D97-AF65-F5344CB8AC3E}">
        <p14:creationId xmlns:p14="http://schemas.microsoft.com/office/powerpoint/2010/main" val="784679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F136E2-3BE4-4236-AB51-E66E56B984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682699-B002-42DE-A4F1-8ECC139170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6277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38C1338-03E2-479A-84CD-1A9C778CC6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920536" y="0"/>
            <a:ext cx="1271464" cy="6858000"/>
          </a:xfrm>
          <a:custGeom>
            <a:avLst/>
            <a:gdLst>
              <a:gd name="connsiteX0" fmla="*/ 1271464 w 1271464"/>
              <a:gd name="connsiteY0" fmla="*/ 0 h 6858000"/>
              <a:gd name="connsiteX1" fmla="*/ 1271464 w 1271464"/>
              <a:gd name="connsiteY1" fmla="*/ 6858000 h 6858000"/>
              <a:gd name="connsiteX2" fmla="*/ 0 w 1271464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1464" h="6858000">
                <a:moveTo>
                  <a:pt x="1271464" y="0"/>
                </a:move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620000" bIns="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</a:t>
            </a:r>
            <a:br>
              <a:rPr lang="en-US"/>
            </a:br>
            <a:r>
              <a:rPr lang="en-US"/>
              <a:t>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4800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</p:spTree>
    <p:extLst>
      <p:ext uri="{BB962C8B-B14F-4D97-AF65-F5344CB8AC3E}">
        <p14:creationId xmlns:p14="http://schemas.microsoft.com/office/powerpoint/2010/main" val="1066682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6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9E78A5-2DE2-4427-A94C-74FACA3456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4913CC-3F53-4342-AD66-272F40088E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6587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3B53-EF69-4A9D-9323-4B8AE486A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9C5E79E-BAFF-45F7-87FC-E06A21C36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25643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2E8CB0-9A39-487F-838A-ED5119F35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884F46-5D92-4C39-A7C6-1698DA4C0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435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D8C59-AB08-4E68-ABC5-054B8E96A1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ABB7E4-4C03-4625-A9FD-0653E9CDEE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846550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5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2B3D04-CC57-411E-8F02-823234E22B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E116DD-4D66-41B8-8695-AE80DF78ED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4148081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9DF1A20-2D08-4001-ACCD-157B201C6B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"/>
            <a:ext cx="6979050" cy="6857999"/>
          </a:xfrm>
          <a:custGeom>
            <a:avLst/>
            <a:gdLst>
              <a:gd name="connsiteX0" fmla="*/ 0 w 6979050"/>
              <a:gd name="connsiteY0" fmla="*/ 0 h 6857999"/>
              <a:gd name="connsiteX1" fmla="*/ 6979050 w 6979050"/>
              <a:gd name="connsiteY1" fmla="*/ 0 h 6857999"/>
              <a:gd name="connsiteX2" fmla="*/ 5721751 w 6979050"/>
              <a:gd name="connsiteY2" fmla="*/ 6857999 h 6857999"/>
              <a:gd name="connsiteX3" fmla="*/ 5718661 w 6979050"/>
              <a:gd name="connsiteY3" fmla="*/ 6857999 h 6857999"/>
              <a:gd name="connsiteX4" fmla="*/ 0 w 6979050"/>
              <a:gd name="connsiteY4" fmla="*/ 685610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57999">
                <a:moveTo>
                  <a:pt x="0" y="0"/>
                </a:moveTo>
                <a:lnTo>
                  <a:pt x="6979050" y="0"/>
                </a:lnTo>
                <a:lnTo>
                  <a:pt x="5721751" y="6857999"/>
                </a:lnTo>
                <a:lnTo>
                  <a:pt x="5718661" y="6857999"/>
                </a:lnTo>
                <a:lnTo>
                  <a:pt x="0" y="685610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176113" y="1484313"/>
            <a:ext cx="4536000" cy="2142783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176113" y="3789096"/>
            <a:ext cx="453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8A7530A-F2BE-4960-A13F-DF414D0EA81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8443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3C2C57A-9E9C-4D5E-A671-30A26FCD5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4D60B8-EBC4-4141-8E22-C02E87953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8666426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DF5307-E60A-4BDF-B8C6-709DBA494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E5E996-493D-48DC-9368-0094BFC4E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935810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8245789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E537E5-6A69-47B9-989E-756E805FCE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991664" y="0"/>
            <a:ext cx="10200336" cy="6858000"/>
          </a:xfrm>
          <a:custGeom>
            <a:avLst/>
            <a:gdLst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00336" h="6858000">
                <a:moveTo>
                  <a:pt x="0" y="0"/>
                </a:moveTo>
                <a:lnTo>
                  <a:pt x="10200336" y="0"/>
                </a:lnTo>
                <a:lnTo>
                  <a:pt x="10200336" y="6858000"/>
                </a:lnTo>
                <a:lnTo>
                  <a:pt x="4471274" y="6858000"/>
                </a:lnTo>
                <a:cubicBezTo>
                  <a:pt x="4990624" y="2752725"/>
                  <a:pt x="1814275" y="4953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276872"/>
            <a:ext cx="4248000" cy="2160048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520"/>
            <a:ext cx="424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A2AB154-A137-46F5-A7B6-0822386459AE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01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B02DD6B-E717-464F-A3B5-917B8740A6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327210" cy="6858000"/>
          </a:xfrm>
          <a:custGeom>
            <a:avLst/>
            <a:gdLst>
              <a:gd name="connsiteX0" fmla="*/ 0 w 9327210"/>
              <a:gd name="connsiteY0" fmla="*/ 0 h 6858000"/>
              <a:gd name="connsiteX1" fmla="*/ 9327210 w 9327210"/>
              <a:gd name="connsiteY1" fmla="*/ 0 h 6858000"/>
              <a:gd name="connsiteX2" fmla="*/ 9235979 w 9327210"/>
              <a:gd name="connsiteY2" fmla="*/ 25804 h 6858000"/>
              <a:gd name="connsiteX3" fmla="*/ 4808914 w 9327210"/>
              <a:gd name="connsiteY3" fmla="*/ 6019305 h 6858000"/>
              <a:gd name="connsiteX4" fmla="*/ 4841444 w 9327210"/>
              <a:gd name="connsiteY4" fmla="*/ 6660953 h 6858000"/>
              <a:gd name="connsiteX5" fmla="*/ 4866583 w 9327210"/>
              <a:gd name="connsiteY5" fmla="*/ 6858000 h 6858000"/>
              <a:gd name="connsiteX6" fmla="*/ 0 w 93272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27210" h="6858000">
                <a:moveTo>
                  <a:pt x="0" y="0"/>
                </a:moveTo>
                <a:lnTo>
                  <a:pt x="9327210" y="0"/>
                </a:lnTo>
                <a:lnTo>
                  <a:pt x="9235979" y="25804"/>
                </a:lnTo>
                <a:cubicBezTo>
                  <a:pt x="6671162" y="820372"/>
                  <a:pt x="4808914" y="3203228"/>
                  <a:pt x="4808914" y="6019305"/>
                </a:cubicBezTo>
                <a:cubicBezTo>
                  <a:pt x="4808914" y="6235927"/>
                  <a:pt x="4819934" y="6449984"/>
                  <a:pt x="4841444" y="6660953"/>
                </a:cubicBezTo>
                <a:lnTo>
                  <a:pt x="486658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816624" y="2276872"/>
            <a:ext cx="4896000" cy="2160024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816624" y="4602496"/>
            <a:ext cx="489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209902F4-A1E3-4594-8358-406C81CCF71D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4108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958CFB5-8C1F-4436-8F1F-5807AE5B9F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073594" y="0"/>
            <a:ext cx="6118406" cy="6858000"/>
          </a:xfrm>
          <a:custGeom>
            <a:avLst/>
            <a:gdLst>
              <a:gd name="connsiteX0" fmla="*/ 20730 w 6118406"/>
              <a:gd name="connsiteY0" fmla="*/ 0 h 6858000"/>
              <a:gd name="connsiteX1" fmla="*/ 6118406 w 6118406"/>
              <a:gd name="connsiteY1" fmla="*/ 0 h 6858000"/>
              <a:gd name="connsiteX2" fmla="*/ 6118406 w 6118406"/>
              <a:gd name="connsiteY2" fmla="*/ 6858000 h 6858000"/>
              <a:gd name="connsiteX3" fmla="*/ 0 w 6118406"/>
              <a:gd name="connsiteY3" fmla="*/ 6858000 h 6858000"/>
              <a:gd name="connsiteX4" fmla="*/ 8120 w 6118406"/>
              <a:gd name="connsiteY4" fmla="*/ 6843935 h 6858000"/>
              <a:gd name="connsiteX5" fmla="*/ 881170 w 6118406"/>
              <a:gd name="connsiteY5" fmla="*/ 3409705 h 6858000"/>
              <a:gd name="connsiteX6" fmla="*/ 167863 w 6118406"/>
              <a:gd name="connsiteY6" fmla="*/ 2861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18406" h="6858000">
                <a:moveTo>
                  <a:pt x="20730" y="0"/>
                </a:moveTo>
                <a:lnTo>
                  <a:pt x="6118406" y="0"/>
                </a:lnTo>
                <a:lnTo>
                  <a:pt x="6118406" y="6858000"/>
                </a:lnTo>
                <a:lnTo>
                  <a:pt x="0" y="6858000"/>
                </a:lnTo>
                <a:lnTo>
                  <a:pt x="8120" y="6843935"/>
                </a:lnTo>
                <a:cubicBezTo>
                  <a:pt x="564903" y="5823066"/>
                  <a:pt x="881170" y="4653173"/>
                  <a:pt x="881170" y="3409705"/>
                </a:cubicBezTo>
                <a:cubicBezTo>
                  <a:pt x="881170" y="2290585"/>
                  <a:pt x="624994" y="1231061"/>
                  <a:pt x="167863" y="28613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456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132856"/>
            <a:ext cx="5472000" cy="230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B199DD7-6FA4-492B-8147-CEB7919A57EA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2499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240016" y="2276872"/>
            <a:ext cx="5472000" cy="2160016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016" y="4602488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5CDD108-9D7B-4ACC-B30A-C902043893F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6120000" cy="6858000"/>
          </a:xfrm>
          <a:custGeom>
            <a:avLst/>
            <a:gdLst>
              <a:gd name="connsiteX0" fmla="*/ 0 w 6120000"/>
              <a:gd name="connsiteY0" fmla="*/ 0 h 6858000"/>
              <a:gd name="connsiteX1" fmla="*/ 6098154 w 6120000"/>
              <a:gd name="connsiteY1" fmla="*/ 0 h 6858000"/>
              <a:gd name="connsiteX2" fmla="*/ 5965018 w 6120000"/>
              <a:gd name="connsiteY2" fmla="*/ 259205 h 6858000"/>
              <a:gd name="connsiteX3" fmla="*/ 5246829 w 6120000"/>
              <a:gd name="connsiteY3" fmla="*/ 3407734 h 6858000"/>
              <a:gd name="connsiteX4" fmla="*/ 5965018 w 6120000"/>
              <a:gd name="connsiteY4" fmla="*/ 6556263 h 6858000"/>
              <a:gd name="connsiteX5" fmla="*/ 6120000 w 6120000"/>
              <a:gd name="connsiteY5" fmla="*/ 6858000 h 6858000"/>
              <a:gd name="connsiteX6" fmla="*/ 0 w 6120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0000" h="6858000">
                <a:moveTo>
                  <a:pt x="0" y="0"/>
                </a:moveTo>
                <a:lnTo>
                  <a:pt x="6098154" y="0"/>
                </a:lnTo>
                <a:lnTo>
                  <a:pt x="5965018" y="259205"/>
                </a:lnTo>
                <a:cubicBezTo>
                  <a:pt x="5504759" y="1211683"/>
                  <a:pt x="5246829" y="2279673"/>
                  <a:pt x="5246829" y="3407734"/>
                </a:cubicBezTo>
                <a:cubicBezTo>
                  <a:pt x="5246829" y="4535796"/>
                  <a:pt x="5504759" y="5603786"/>
                  <a:pt x="5965018" y="6556263"/>
                </a:cubicBezTo>
                <a:lnTo>
                  <a:pt x="6120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295D1AD-7BD3-4C8F-A428-DA13ACC704B1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353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28D2AA0-1F0D-4D8F-9B2D-220CA54171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386108" cy="6858000"/>
          </a:xfrm>
          <a:custGeom>
            <a:avLst/>
            <a:gdLst>
              <a:gd name="connsiteX0" fmla="*/ 0 w 4386108"/>
              <a:gd name="connsiteY0" fmla="*/ 0 h 6858000"/>
              <a:gd name="connsiteX1" fmla="*/ 4386108 w 4386108"/>
              <a:gd name="connsiteY1" fmla="*/ 0 h 6858000"/>
              <a:gd name="connsiteX2" fmla="*/ 4298433 w 4386108"/>
              <a:gd name="connsiteY2" fmla="*/ 111568 h 6858000"/>
              <a:gd name="connsiteX3" fmla="*/ 3196914 w 4386108"/>
              <a:gd name="connsiteY3" fmla="*/ 3429000 h 6858000"/>
              <a:gd name="connsiteX4" fmla="*/ 4298433 w 4386108"/>
              <a:gd name="connsiteY4" fmla="*/ 6746432 h 6858000"/>
              <a:gd name="connsiteX5" fmla="*/ 4386108 w 4386108"/>
              <a:gd name="connsiteY5" fmla="*/ 6858000 h 6858000"/>
              <a:gd name="connsiteX6" fmla="*/ 0 w 438610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6108" h="6858000">
                <a:moveTo>
                  <a:pt x="0" y="0"/>
                </a:moveTo>
                <a:lnTo>
                  <a:pt x="4386108" y="0"/>
                </a:lnTo>
                <a:lnTo>
                  <a:pt x="4298433" y="111568"/>
                </a:lnTo>
                <a:cubicBezTo>
                  <a:pt x="3606609" y="1036646"/>
                  <a:pt x="3196914" y="2184979"/>
                  <a:pt x="3196914" y="3429000"/>
                </a:cubicBezTo>
                <a:cubicBezTo>
                  <a:pt x="3196914" y="4673022"/>
                  <a:pt x="3606609" y="5821354"/>
                  <a:pt x="4298433" y="6746432"/>
                </a:cubicBezTo>
                <a:lnTo>
                  <a:pt x="43861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96624" y="1918800"/>
            <a:ext cx="7416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296295" y="2494800"/>
            <a:ext cx="7416000" cy="2448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72496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1BDEBC-6FA6-4476-95D8-2B2706F2051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747654" y="0"/>
            <a:ext cx="6444347" cy="6858000"/>
          </a:xfrm>
          <a:custGeom>
            <a:avLst/>
            <a:gdLst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44347" h="6858000">
                <a:moveTo>
                  <a:pt x="46363" y="0"/>
                </a:moveTo>
                <a:lnTo>
                  <a:pt x="6444347" y="0"/>
                </a:lnTo>
                <a:lnTo>
                  <a:pt x="6444347" y="6858000"/>
                </a:lnTo>
                <a:lnTo>
                  <a:pt x="0" y="6858000"/>
                </a:lnTo>
                <a:cubicBezTo>
                  <a:pt x="1793454" y="3492500"/>
                  <a:pt x="196009" y="520700"/>
                  <a:pt x="463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1918800"/>
            <a:ext cx="547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487600"/>
            <a:ext cx="5472000" cy="2520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270410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A2E5588-AEC6-4E34-BA4C-827EC78D795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12191998" cy="6858000"/>
          </a:xfrm>
          <a:custGeom>
            <a:avLst/>
            <a:gdLst>
              <a:gd name="connsiteX0" fmla="*/ 4770500 w 12191998"/>
              <a:gd name="connsiteY0" fmla="*/ 0 h 6858000"/>
              <a:gd name="connsiteX1" fmla="*/ 12191998 w 12191998"/>
              <a:gd name="connsiteY1" fmla="*/ 0 h 6858000"/>
              <a:gd name="connsiteX2" fmla="*/ 12191998 w 12191998"/>
              <a:gd name="connsiteY2" fmla="*/ 6858000 h 6858000"/>
              <a:gd name="connsiteX3" fmla="*/ 0 w 12191998"/>
              <a:gd name="connsiteY3" fmla="*/ 6858000 h 6858000"/>
              <a:gd name="connsiteX4" fmla="*/ 0 w 12191998"/>
              <a:gd name="connsiteY4" fmla="*/ 4582554 h 6858000"/>
              <a:gd name="connsiteX5" fmla="*/ 33987 w 12191998"/>
              <a:gd name="connsiteY5" fmla="*/ 4613444 h 6858000"/>
              <a:gd name="connsiteX6" fmla="*/ 2150404 w 12191998"/>
              <a:gd name="connsiteY6" fmla="*/ 5373217 h 6858000"/>
              <a:gd name="connsiteX7" fmla="*/ 5477619 w 12191998"/>
              <a:gd name="connsiteY7" fmla="*/ 2046003 h 6858000"/>
              <a:gd name="connsiteX8" fmla="*/ 4909383 w 12191998"/>
              <a:gd name="connsiteY8" fmla="*/ 1857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8" h="6858000">
                <a:moveTo>
                  <a:pt x="477050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lnTo>
                  <a:pt x="0" y="4582554"/>
                </a:lnTo>
                <a:lnTo>
                  <a:pt x="33987" y="4613444"/>
                </a:lnTo>
                <a:cubicBezTo>
                  <a:pt x="609126" y="5088090"/>
                  <a:pt x="1346467" y="5373217"/>
                  <a:pt x="2150404" y="5373217"/>
                </a:cubicBezTo>
                <a:cubicBezTo>
                  <a:pt x="3987974" y="5373217"/>
                  <a:pt x="5477619" y="3883573"/>
                  <a:pt x="5477619" y="2046003"/>
                </a:cubicBezTo>
                <a:cubicBezTo>
                  <a:pt x="5477619" y="1356914"/>
                  <a:pt x="5268137" y="716753"/>
                  <a:pt x="4909383" y="1857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888521"/>
            <a:ext cx="421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1449008"/>
            <a:ext cx="4212000" cy="2052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704321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981B2F9-E477-4910-B6C8-B4166311C8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76400"/>
            <a:ext cx="50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349120"/>
            <a:ext cx="5040000" cy="2160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CD1DD9C-F02A-47C8-8743-11F4261A4C3F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334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6DE41FF-A31E-450A-9DDA-F42B5F5010A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783776" cy="6858000"/>
          </a:xfrm>
          <a:custGeom>
            <a:avLst/>
            <a:gdLst>
              <a:gd name="connsiteX0" fmla="*/ 0 w 4783776"/>
              <a:gd name="connsiteY0" fmla="*/ 0 h 6858000"/>
              <a:gd name="connsiteX1" fmla="*/ 4783776 w 4783776"/>
              <a:gd name="connsiteY1" fmla="*/ 0 h 6858000"/>
              <a:gd name="connsiteX2" fmla="*/ 4638208 w 4783776"/>
              <a:gd name="connsiteY2" fmla="*/ 283801 h 6858000"/>
              <a:gd name="connsiteX3" fmla="*/ 3920606 w 4783776"/>
              <a:gd name="connsiteY3" fmla="*/ 3434065 h 6858000"/>
              <a:gd name="connsiteX4" fmla="*/ 4638208 w 4783776"/>
              <a:gd name="connsiteY4" fmla="*/ 6584329 h 6858000"/>
              <a:gd name="connsiteX5" fmla="*/ 4778580 w 4783776"/>
              <a:gd name="connsiteY5" fmla="*/ 6858000 h 6858000"/>
              <a:gd name="connsiteX6" fmla="*/ 0 w 478377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3776" h="6858000">
                <a:moveTo>
                  <a:pt x="0" y="0"/>
                </a:moveTo>
                <a:lnTo>
                  <a:pt x="4783776" y="0"/>
                </a:lnTo>
                <a:lnTo>
                  <a:pt x="4638208" y="283801"/>
                </a:lnTo>
                <a:cubicBezTo>
                  <a:pt x="4178324" y="1236804"/>
                  <a:pt x="3920606" y="2305382"/>
                  <a:pt x="3920606" y="3434065"/>
                </a:cubicBezTo>
                <a:cubicBezTo>
                  <a:pt x="3920606" y="4562748"/>
                  <a:pt x="4178324" y="5631327"/>
                  <a:pt x="4638208" y="6584329"/>
                </a:cubicBezTo>
                <a:lnTo>
                  <a:pt x="4778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115432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99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BE8FA9-FB77-4463-83F0-AF072D7E3A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A6902A-81C8-466B-AA0A-0E02C10B09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240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3BB7C4E-FA89-4BC3-9699-0EEA1129D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527150-B132-4DFB-A04A-714DA2CB7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614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F41E370-9CFD-4AA6-B2B3-A21125A6A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B3CF91-D2AC-40E9-9A32-AE71C2ECC7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05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16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339C87-5F5C-42C8-86A5-C42DFB68F7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29173B-4EAA-4A0C-B4D7-CFA8E1B29F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506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26C817-A060-46FE-B240-4BCC162912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65EDE6-32DB-448E-93D2-8C64C332AD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76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98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1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9E6A59E-65A1-4892-A9F2-DD292EB15F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58D5B3-9FB9-4530-9272-CEDC802542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9518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937B04E-44DD-4465-BC45-AE8613AEB878}"/>
              </a:ext>
            </a:extLst>
          </p:cNvPr>
          <p:cNvSpPr/>
          <p:nvPr/>
        </p:nvSpPr>
        <p:spPr bwMode="gray">
          <a:xfrm>
            <a:off x="8112000" y="2852712"/>
            <a:ext cx="4080000" cy="4005288"/>
          </a:xfrm>
          <a:custGeom>
            <a:avLst/>
            <a:gdLst>
              <a:gd name="connsiteX0" fmla="*/ 2484388 w 4080000"/>
              <a:gd name="connsiteY0" fmla="*/ 0 h 4005288"/>
              <a:gd name="connsiteX1" fmla="*/ 4064690 w 4080000"/>
              <a:gd name="connsiteY1" fmla="*/ 567314 h 4005288"/>
              <a:gd name="connsiteX2" fmla="*/ 4080000 w 4080000"/>
              <a:gd name="connsiteY2" fmla="*/ 581229 h 4005288"/>
              <a:gd name="connsiteX3" fmla="*/ 4080000 w 4080000"/>
              <a:gd name="connsiteY3" fmla="*/ 4005288 h 4005288"/>
              <a:gd name="connsiteX4" fmla="*/ 522894 w 4080000"/>
              <a:gd name="connsiteY4" fmla="*/ 4005288 h 4005288"/>
              <a:gd name="connsiteX5" fmla="*/ 424294 w 4080000"/>
              <a:gd name="connsiteY5" fmla="*/ 3873433 h 4005288"/>
              <a:gd name="connsiteX6" fmla="*/ 0 w 4080000"/>
              <a:gd name="connsiteY6" fmla="*/ 2484388 h 4005288"/>
              <a:gd name="connsiteX7" fmla="*/ 2484388 w 4080000"/>
              <a:gd name="connsiteY7" fmla="*/ 0 h 400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80000" h="4005288">
                <a:moveTo>
                  <a:pt x="2484388" y="0"/>
                </a:moveTo>
                <a:cubicBezTo>
                  <a:pt x="3084677" y="0"/>
                  <a:pt x="3635241" y="212901"/>
                  <a:pt x="4064690" y="567314"/>
                </a:cubicBezTo>
                <a:lnTo>
                  <a:pt x="4080000" y="581229"/>
                </a:lnTo>
                <a:lnTo>
                  <a:pt x="4080000" y="4005288"/>
                </a:lnTo>
                <a:lnTo>
                  <a:pt x="522894" y="4005288"/>
                </a:lnTo>
                <a:lnTo>
                  <a:pt x="424294" y="3873433"/>
                </a:lnTo>
                <a:cubicBezTo>
                  <a:pt x="156417" y="3476923"/>
                  <a:pt x="0" y="2998922"/>
                  <a:pt x="0" y="2484388"/>
                </a:cubicBezTo>
                <a:cubicBezTo>
                  <a:pt x="0" y="1112298"/>
                  <a:pt x="1112298" y="0"/>
                  <a:pt x="2484388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BF2E2F-9C01-40A9-862B-D0B02650150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A401E8-8CD1-42A6-A65A-9BF90656FC9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395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00CC883-E224-4B3D-90D1-3072108A83ED}"/>
              </a:ext>
            </a:extLst>
          </p:cNvPr>
          <p:cNvSpPr/>
          <p:nvPr/>
        </p:nvSpPr>
        <p:spPr bwMode="gray">
          <a:xfrm>
            <a:off x="4379547" y="1484588"/>
            <a:ext cx="7812453" cy="5373412"/>
          </a:xfrm>
          <a:custGeom>
            <a:avLst/>
            <a:gdLst>
              <a:gd name="connsiteX0" fmla="*/ 4751421 w 7812453"/>
              <a:gd name="connsiteY0" fmla="*/ 0 h 5373412"/>
              <a:gd name="connsiteX1" fmla="*/ 7773767 w 7812453"/>
              <a:gd name="connsiteY1" fmla="*/ 1084994 h 5373412"/>
              <a:gd name="connsiteX2" fmla="*/ 7812453 w 7812453"/>
              <a:gd name="connsiteY2" fmla="*/ 1118505 h 5373412"/>
              <a:gd name="connsiteX3" fmla="*/ 7812453 w 7812453"/>
              <a:gd name="connsiteY3" fmla="*/ 5373412 h 5373412"/>
              <a:gd name="connsiteX4" fmla="*/ 41836 w 7812453"/>
              <a:gd name="connsiteY4" fmla="*/ 5373412 h 5373412"/>
              <a:gd name="connsiteX5" fmla="*/ 24531 w 7812453"/>
              <a:gd name="connsiteY5" fmla="*/ 5237227 h 5373412"/>
              <a:gd name="connsiteX6" fmla="*/ 0 w 7812453"/>
              <a:gd name="connsiteY6" fmla="*/ 4751422 h 5373412"/>
              <a:gd name="connsiteX7" fmla="*/ 4751421 w 7812453"/>
              <a:gd name="connsiteY7" fmla="*/ 0 h 537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2453" h="5373412">
                <a:moveTo>
                  <a:pt x="4751421" y="0"/>
                </a:moveTo>
                <a:cubicBezTo>
                  <a:pt x="5899481" y="0"/>
                  <a:pt x="6952441" y="407176"/>
                  <a:pt x="7773767" y="1084994"/>
                </a:cubicBezTo>
                <a:lnTo>
                  <a:pt x="7812453" y="1118505"/>
                </a:lnTo>
                <a:lnTo>
                  <a:pt x="7812453" y="5373412"/>
                </a:lnTo>
                <a:lnTo>
                  <a:pt x="41836" y="5373412"/>
                </a:lnTo>
                <a:lnTo>
                  <a:pt x="24531" y="5237227"/>
                </a:lnTo>
                <a:cubicBezTo>
                  <a:pt x="8309" y="5077499"/>
                  <a:pt x="0" y="4915431"/>
                  <a:pt x="0" y="4751422"/>
                </a:cubicBezTo>
                <a:cubicBezTo>
                  <a:pt x="0" y="2127284"/>
                  <a:pt x="2127284" y="0"/>
                  <a:pt x="4751421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aseline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588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6234B7-D716-449B-A67D-3990BF8609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DA65B6-71AF-4E4F-86E6-22855CFC07C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753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3592" y="2132856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62FE07A-98B0-4A5A-92F3-2746287F5C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416480" y="0"/>
            <a:ext cx="1775520" cy="6858000"/>
          </a:xfrm>
          <a:custGeom>
            <a:avLst/>
            <a:gdLst>
              <a:gd name="connsiteX0" fmla="*/ 0 w 1775520"/>
              <a:gd name="connsiteY0" fmla="*/ 0 h 6858000"/>
              <a:gd name="connsiteX1" fmla="*/ 1775520 w 1775520"/>
              <a:gd name="connsiteY1" fmla="*/ 0 h 6858000"/>
              <a:gd name="connsiteX2" fmla="*/ 1775520 w 1775520"/>
              <a:gd name="connsiteY2" fmla="*/ 6858000 h 6858000"/>
              <a:gd name="connsiteX3" fmla="*/ 0 w 1775520"/>
              <a:gd name="connsiteY3" fmla="*/ 6858000 h 6858000"/>
              <a:gd name="connsiteX4" fmla="*/ 151459 w 1775520"/>
              <a:gd name="connsiteY4" fmla="*/ 6545094 h 6858000"/>
              <a:gd name="connsiteX5" fmla="*/ 825025 w 1775520"/>
              <a:gd name="connsiteY5" fmla="*/ 3429000 h 6858000"/>
              <a:gd name="connsiteX6" fmla="*/ 151459 w 1775520"/>
              <a:gd name="connsiteY6" fmla="*/ 3129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6858000">
                <a:moveTo>
                  <a:pt x="0" y="0"/>
                </a:moveTo>
                <a:lnTo>
                  <a:pt x="1775520" y="0"/>
                </a:lnTo>
                <a:lnTo>
                  <a:pt x="1775520" y="6858000"/>
                </a:lnTo>
                <a:lnTo>
                  <a:pt x="0" y="6858000"/>
                </a:lnTo>
                <a:lnTo>
                  <a:pt x="151459" y="6545094"/>
                </a:lnTo>
                <a:cubicBezTo>
                  <a:pt x="585184" y="5587332"/>
                  <a:pt x="825025" y="4534326"/>
                  <a:pt x="825025" y="3429000"/>
                </a:cubicBezTo>
                <a:cubicBezTo>
                  <a:pt x="825025" y="2323674"/>
                  <a:pt x="585184" y="1270668"/>
                  <a:pt x="151459" y="31290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828000" bIns="1152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</p:spTree>
    <p:extLst>
      <p:ext uri="{BB962C8B-B14F-4D97-AF65-F5344CB8AC3E}">
        <p14:creationId xmlns:p14="http://schemas.microsoft.com/office/powerpoint/2010/main" val="3161643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E87C846-8014-43F0-BCFB-649C50CDBD1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069183 h 6858000"/>
              <a:gd name="connsiteX3" fmla="*/ 6630185 w 12192000"/>
              <a:gd name="connsiteY3" fmla="*/ 2069183 h 6858000"/>
              <a:gd name="connsiteX4" fmla="*/ 5725212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744608" y="2348880"/>
            <a:ext cx="4968000" cy="2160000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44608" y="4672800"/>
            <a:ext cx="496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1C213A6-316B-4042-A9E0-954B2D89EE8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664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F136E2-3BE4-4236-AB51-E66E56B984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682699-B002-42DE-A4F1-8ECC139170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5408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6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9E78A5-2DE2-4427-A94C-74FACA3456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4913CC-3F53-4342-AD66-272F40088E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9945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3B53-EF69-4A9D-9323-4B8AE486A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9C5E79E-BAFF-45F7-87FC-E06A21C36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0994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2E8CB0-9A39-487F-838A-ED5119F35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884F46-5D92-4C39-A7C6-1698DA4C0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923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E537E5-6A69-47B9-989E-756E805FCE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991664" y="0"/>
            <a:ext cx="10200336" cy="6858000"/>
          </a:xfrm>
          <a:custGeom>
            <a:avLst/>
            <a:gdLst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00336" h="6858000">
                <a:moveTo>
                  <a:pt x="0" y="0"/>
                </a:moveTo>
                <a:lnTo>
                  <a:pt x="10200336" y="0"/>
                </a:lnTo>
                <a:lnTo>
                  <a:pt x="10200336" y="6858000"/>
                </a:lnTo>
                <a:lnTo>
                  <a:pt x="4471274" y="6858000"/>
                </a:lnTo>
                <a:cubicBezTo>
                  <a:pt x="4990624" y="2752725"/>
                  <a:pt x="1814275" y="4953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276872"/>
            <a:ext cx="4248000" cy="2160048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520"/>
            <a:ext cx="424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A2AB154-A137-46F5-A7B6-0822386459AE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157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B02DD6B-E717-464F-A3B5-917B8740A6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327210" cy="6858000"/>
          </a:xfrm>
          <a:custGeom>
            <a:avLst/>
            <a:gdLst>
              <a:gd name="connsiteX0" fmla="*/ 0 w 9327210"/>
              <a:gd name="connsiteY0" fmla="*/ 0 h 6858000"/>
              <a:gd name="connsiteX1" fmla="*/ 9327210 w 9327210"/>
              <a:gd name="connsiteY1" fmla="*/ 0 h 6858000"/>
              <a:gd name="connsiteX2" fmla="*/ 9235979 w 9327210"/>
              <a:gd name="connsiteY2" fmla="*/ 25804 h 6858000"/>
              <a:gd name="connsiteX3" fmla="*/ 4808914 w 9327210"/>
              <a:gd name="connsiteY3" fmla="*/ 6019305 h 6858000"/>
              <a:gd name="connsiteX4" fmla="*/ 4841444 w 9327210"/>
              <a:gd name="connsiteY4" fmla="*/ 6660953 h 6858000"/>
              <a:gd name="connsiteX5" fmla="*/ 4866583 w 9327210"/>
              <a:gd name="connsiteY5" fmla="*/ 6858000 h 6858000"/>
              <a:gd name="connsiteX6" fmla="*/ 0 w 93272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27210" h="6858000">
                <a:moveTo>
                  <a:pt x="0" y="0"/>
                </a:moveTo>
                <a:lnTo>
                  <a:pt x="9327210" y="0"/>
                </a:lnTo>
                <a:lnTo>
                  <a:pt x="9235979" y="25804"/>
                </a:lnTo>
                <a:cubicBezTo>
                  <a:pt x="6671162" y="820372"/>
                  <a:pt x="4808914" y="3203228"/>
                  <a:pt x="4808914" y="6019305"/>
                </a:cubicBezTo>
                <a:cubicBezTo>
                  <a:pt x="4808914" y="6235927"/>
                  <a:pt x="4819934" y="6449984"/>
                  <a:pt x="4841444" y="6660953"/>
                </a:cubicBezTo>
                <a:lnTo>
                  <a:pt x="486658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816624" y="2276872"/>
            <a:ext cx="4896000" cy="2160024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816624" y="4602496"/>
            <a:ext cx="489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209902F4-A1E3-4594-8358-406C81CCF71D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6823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958CFB5-8C1F-4436-8F1F-5807AE5B9F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073594" y="0"/>
            <a:ext cx="6118406" cy="6858000"/>
          </a:xfrm>
          <a:custGeom>
            <a:avLst/>
            <a:gdLst>
              <a:gd name="connsiteX0" fmla="*/ 20730 w 6118406"/>
              <a:gd name="connsiteY0" fmla="*/ 0 h 6858000"/>
              <a:gd name="connsiteX1" fmla="*/ 6118406 w 6118406"/>
              <a:gd name="connsiteY1" fmla="*/ 0 h 6858000"/>
              <a:gd name="connsiteX2" fmla="*/ 6118406 w 6118406"/>
              <a:gd name="connsiteY2" fmla="*/ 6858000 h 6858000"/>
              <a:gd name="connsiteX3" fmla="*/ 0 w 6118406"/>
              <a:gd name="connsiteY3" fmla="*/ 6858000 h 6858000"/>
              <a:gd name="connsiteX4" fmla="*/ 8120 w 6118406"/>
              <a:gd name="connsiteY4" fmla="*/ 6843935 h 6858000"/>
              <a:gd name="connsiteX5" fmla="*/ 881170 w 6118406"/>
              <a:gd name="connsiteY5" fmla="*/ 3409705 h 6858000"/>
              <a:gd name="connsiteX6" fmla="*/ 167863 w 6118406"/>
              <a:gd name="connsiteY6" fmla="*/ 2861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18406" h="6858000">
                <a:moveTo>
                  <a:pt x="20730" y="0"/>
                </a:moveTo>
                <a:lnTo>
                  <a:pt x="6118406" y="0"/>
                </a:lnTo>
                <a:lnTo>
                  <a:pt x="6118406" y="6858000"/>
                </a:lnTo>
                <a:lnTo>
                  <a:pt x="0" y="6858000"/>
                </a:lnTo>
                <a:lnTo>
                  <a:pt x="8120" y="6843935"/>
                </a:lnTo>
                <a:cubicBezTo>
                  <a:pt x="564903" y="5823066"/>
                  <a:pt x="881170" y="4653173"/>
                  <a:pt x="881170" y="3409705"/>
                </a:cubicBezTo>
                <a:cubicBezTo>
                  <a:pt x="881170" y="2290585"/>
                  <a:pt x="624994" y="1231061"/>
                  <a:pt x="167863" y="28613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2456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132856"/>
            <a:ext cx="5472000" cy="230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B199DD7-6FA4-492B-8147-CEB7919A57EA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7685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240016" y="2276872"/>
            <a:ext cx="5472000" cy="2160016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016" y="4602488"/>
            <a:ext cx="547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5CDD108-9D7B-4ACC-B30A-C902043893F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6120000" cy="6858000"/>
          </a:xfrm>
          <a:custGeom>
            <a:avLst/>
            <a:gdLst>
              <a:gd name="connsiteX0" fmla="*/ 0 w 6120000"/>
              <a:gd name="connsiteY0" fmla="*/ 0 h 6858000"/>
              <a:gd name="connsiteX1" fmla="*/ 6098154 w 6120000"/>
              <a:gd name="connsiteY1" fmla="*/ 0 h 6858000"/>
              <a:gd name="connsiteX2" fmla="*/ 5965018 w 6120000"/>
              <a:gd name="connsiteY2" fmla="*/ 259205 h 6858000"/>
              <a:gd name="connsiteX3" fmla="*/ 5246829 w 6120000"/>
              <a:gd name="connsiteY3" fmla="*/ 3407734 h 6858000"/>
              <a:gd name="connsiteX4" fmla="*/ 5965018 w 6120000"/>
              <a:gd name="connsiteY4" fmla="*/ 6556263 h 6858000"/>
              <a:gd name="connsiteX5" fmla="*/ 6120000 w 6120000"/>
              <a:gd name="connsiteY5" fmla="*/ 6858000 h 6858000"/>
              <a:gd name="connsiteX6" fmla="*/ 0 w 6120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0000" h="6858000">
                <a:moveTo>
                  <a:pt x="0" y="0"/>
                </a:moveTo>
                <a:lnTo>
                  <a:pt x="6098154" y="0"/>
                </a:lnTo>
                <a:lnTo>
                  <a:pt x="5965018" y="259205"/>
                </a:lnTo>
                <a:cubicBezTo>
                  <a:pt x="5504759" y="1211683"/>
                  <a:pt x="5246829" y="2279673"/>
                  <a:pt x="5246829" y="3407734"/>
                </a:cubicBezTo>
                <a:cubicBezTo>
                  <a:pt x="5246829" y="4535796"/>
                  <a:pt x="5504759" y="5603786"/>
                  <a:pt x="5965018" y="6556263"/>
                </a:cubicBezTo>
                <a:lnTo>
                  <a:pt x="6120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295D1AD-7BD3-4C8F-A428-DA13ACC704B1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177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28D2AA0-1F0D-4D8F-9B2D-220CA54171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386108" cy="6858000"/>
          </a:xfrm>
          <a:custGeom>
            <a:avLst/>
            <a:gdLst>
              <a:gd name="connsiteX0" fmla="*/ 0 w 4386108"/>
              <a:gd name="connsiteY0" fmla="*/ 0 h 6858000"/>
              <a:gd name="connsiteX1" fmla="*/ 4386108 w 4386108"/>
              <a:gd name="connsiteY1" fmla="*/ 0 h 6858000"/>
              <a:gd name="connsiteX2" fmla="*/ 4298433 w 4386108"/>
              <a:gd name="connsiteY2" fmla="*/ 111568 h 6858000"/>
              <a:gd name="connsiteX3" fmla="*/ 3196914 w 4386108"/>
              <a:gd name="connsiteY3" fmla="*/ 3429000 h 6858000"/>
              <a:gd name="connsiteX4" fmla="*/ 4298433 w 4386108"/>
              <a:gd name="connsiteY4" fmla="*/ 6746432 h 6858000"/>
              <a:gd name="connsiteX5" fmla="*/ 4386108 w 4386108"/>
              <a:gd name="connsiteY5" fmla="*/ 6858000 h 6858000"/>
              <a:gd name="connsiteX6" fmla="*/ 0 w 438610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6108" h="6858000">
                <a:moveTo>
                  <a:pt x="0" y="0"/>
                </a:moveTo>
                <a:lnTo>
                  <a:pt x="4386108" y="0"/>
                </a:lnTo>
                <a:lnTo>
                  <a:pt x="4298433" y="111568"/>
                </a:lnTo>
                <a:cubicBezTo>
                  <a:pt x="3606609" y="1036646"/>
                  <a:pt x="3196914" y="2184979"/>
                  <a:pt x="3196914" y="3429000"/>
                </a:cubicBezTo>
                <a:cubicBezTo>
                  <a:pt x="3196914" y="4673022"/>
                  <a:pt x="3606609" y="5821354"/>
                  <a:pt x="4298433" y="6746432"/>
                </a:cubicBezTo>
                <a:lnTo>
                  <a:pt x="43861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96624" y="1918800"/>
            <a:ext cx="7416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296295" y="2494800"/>
            <a:ext cx="7416000" cy="2448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1870449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1BDEBC-6FA6-4476-95D8-2B2706F2051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747654" y="0"/>
            <a:ext cx="6444347" cy="6858000"/>
          </a:xfrm>
          <a:custGeom>
            <a:avLst/>
            <a:gdLst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44347" h="6858000">
                <a:moveTo>
                  <a:pt x="46363" y="0"/>
                </a:moveTo>
                <a:lnTo>
                  <a:pt x="6444347" y="0"/>
                </a:lnTo>
                <a:lnTo>
                  <a:pt x="6444347" y="6858000"/>
                </a:lnTo>
                <a:lnTo>
                  <a:pt x="0" y="6858000"/>
                </a:lnTo>
                <a:cubicBezTo>
                  <a:pt x="1793454" y="3492500"/>
                  <a:pt x="196009" y="520700"/>
                  <a:pt x="463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1918800"/>
            <a:ext cx="547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487600"/>
            <a:ext cx="5472000" cy="2520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980019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D2FF-D647-45CD-A73D-4072E12B26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248114" y="368"/>
            <a:ext cx="4943886" cy="6857632"/>
          </a:xfrm>
          <a:custGeom>
            <a:avLst/>
            <a:gdLst>
              <a:gd name="connsiteX0" fmla="*/ 4943886 w 4943886"/>
              <a:gd name="connsiteY0" fmla="*/ 0 h 6857632"/>
              <a:gd name="connsiteX1" fmla="*/ 4943886 w 4943886"/>
              <a:gd name="connsiteY1" fmla="*/ 6857632 h 6857632"/>
              <a:gd name="connsiteX2" fmla="*/ 0 w 4943886"/>
              <a:gd name="connsiteY2" fmla="*/ 6857632 h 6857632"/>
              <a:gd name="connsiteX3" fmla="*/ 1277303 w 4943886"/>
              <a:gd name="connsiteY3" fmla="*/ 586 h 685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2">
                <a:moveTo>
                  <a:pt x="4943886" y="0"/>
                </a:moveTo>
                <a:lnTo>
                  <a:pt x="4943886" y="6857632"/>
                </a:lnTo>
                <a:lnTo>
                  <a:pt x="0" y="6857632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705" y="1989160"/>
            <a:ext cx="6624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565160"/>
            <a:ext cx="662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214886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A2E5588-AEC6-4E34-BA4C-827EC78D795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12191998" cy="6858000"/>
          </a:xfrm>
          <a:custGeom>
            <a:avLst/>
            <a:gdLst>
              <a:gd name="connsiteX0" fmla="*/ 4770500 w 12191998"/>
              <a:gd name="connsiteY0" fmla="*/ 0 h 6858000"/>
              <a:gd name="connsiteX1" fmla="*/ 12191998 w 12191998"/>
              <a:gd name="connsiteY1" fmla="*/ 0 h 6858000"/>
              <a:gd name="connsiteX2" fmla="*/ 12191998 w 12191998"/>
              <a:gd name="connsiteY2" fmla="*/ 6858000 h 6858000"/>
              <a:gd name="connsiteX3" fmla="*/ 0 w 12191998"/>
              <a:gd name="connsiteY3" fmla="*/ 6858000 h 6858000"/>
              <a:gd name="connsiteX4" fmla="*/ 0 w 12191998"/>
              <a:gd name="connsiteY4" fmla="*/ 4582554 h 6858000"/>
              <a:gd name="connsiteX5" fmla="*/ 33987 w 12191998"/>
              <a:gd name="connsiteY5" fmla="*/ 4613444 h 6858000"/>
              <a:gd name="connsiteX6" fmla="*/ 2150404 w 12191998"/>
              <a:gd name="connsiteY6" fmla="*/ 5373217 h 6858000"/>
              <a:gd name="connsiteX7" fmla="*/ 5477619 w 12191998"/>
              <a:gd name="connsiteY7" fmla="*/ 2046003 h 6858000"/>
              <a:gd name="connsiteX8" fmla="*/ 4909383 w 12191998"/>
              <a:gd name="connsiteY8" fmla="*/ 1857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8" h="6858000">
                <a:moveTo>
                  <a:pt x="477050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lnTo>
                  <a:pt x="0" y="4582554"/>
                </a:lnTo>
                <a:lnTo>
                  <a:pt x="33987" y="4613444"/>
                </a:lnTo>
                <a:cubicBezTo>
                  <a:pt x="609126" y="5088090"/>
                  <a:pt x="1346467" y="5373217"/>
                  <a:pt x="2150404" y="5373217"/>
                </a:cubicBezTo>
                <a:cubicBezTo>
                  <a:pt x="3987974" y="5373217"/>
                  <a:pt x="5477619" y="3883573"/>
                  <a:pt x="5477619" y="2046003"/>
                </a:cubicBezTo>
                <a:cubicBezTo>
                  <a:pt x="5477619" y="1356914"/>
                  <a:pt x="5268137" y="716753"/>
                  <a:pt x="4909383" y="1857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888521"/>
            <a:ext cx="4212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1449008"/>
            <a:ext cx="4212000" cy="2052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1951434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6DE41FF-A31E-450A-9DDA-F42B5F5010A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783776" cy="6858000"/>
          </a:xfrm>
          <a:custGeom>
            <a:avLst/>
            <a:gdLst>
              <a:gd name="connsiteX0" fmla="*/ 0 w 4783776"/>
              <a:gd name="connsiteY0" fmla="*/ 0 h 6858000"/>
              <a:gd name="connsiteX1" fmla="*/ 4783776 w 4783776"/>
              <a:gd name="connsiteY1" fmla="*/ 0 h 6858000"/>
              <a:gd name="connsiteX2" fmla="*/ 4638208 w 4783776"/>
              <a:gd name="connsiteY2" fmla="*/ 283801 h 6858000"/>
              <a:gd name="connsiteX3" fmla="*/ 3920606 w 4783776"/>
              <a:gd name="connsiteY3" fmla="*/ 3434065 h 6858000"/>
              <a:gd name="connsiteX4" fmla="*/ 4638208 w 4783776"/>
              <a:gd name="connsiteY4" fmla="*/ 6584329 h 6858000"/>
              <a:gd name="connsiteX5" fmla="*/ 4778580 w 4783776"/>
              <a:gd name="connsiteY5" fmla="*/ 6858000 h 6858000"/>
              <a:gd name="connsiteX6" fmla="*/ 0 w 478377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3776" h="6858000">
                <a:moveTo>
                  <a:pt x="0" y="0"/>
                </a:moveTo>
                <a:lnTo>
                  <a:pt x="4783776" y="0"/>
                </a:lnTo>
                <a:lnTo>
                  <a:pt x="4638208" y="283801"/>
                </a:lnTo>
                <a:cubicBezTo>
                  <a:pt x="4178324" y="1236804"/>
                  <a:pt x="3920606" y="2305382"/>
                  <a:pt x="3920606" y="3434065"/>
                </a:cubicBezTo>
                <a:cubicBezTo>
                  <a:pt x="3920606" y="4562748"/>
                  <a:pt x="4178324" y="5631327"/>
                  <a:pt x="4638208" y="6584329"/>
                </a:cubicBezTo>
                <a:lnTo>
                  <a:pt x="4778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720047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99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BE8FA9-FB77-4463-83F0-AF072D7E3A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A6902A-81C8-466B-AA0A-0E02C10B09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355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3BB7C4E-FA89-4BC3-9699-0EEA1129D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527150-B132-4DFB-A04A-714DA2CB7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249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F41E370-9CFD-4AA6-B2B3-A21125A6A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B3CF91-D2AC-40E9-9A32-AE71C2ECC7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282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16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339C87-5F5C-42C8-86A5-C42DFB68F7B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29173B-4EAA-4A0C-B4D7-CFA8E1B29F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332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26C817-A060-46FE-B240-4BCC162912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65EDE6-32DB-448E-93D2-8C64C332AD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953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98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1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9E6A59E-65A1-4892-A9F2-DD292EB15F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58D5B3-9FB9-4530-9272-CEDC802542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8008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937B04E-44DD-4465-BC45-AE8613AEB878}"/>
              </a:ext>
            </a:extLst>
          </p:cNvPr>
          <p:cNvSpPr/>
          <p:nvPr/>
        </p:nvSpPr>
        <p:spPr bwMode="gray">
          <a:xfrm>
            <a:off x="8112000" y="2852712"/>
            <a:ext cx="4080000" cy="4005288"/>
          </a:xfrm>
          <a:custGeom>
            <a:avLst/>
            <a:gdLst>
              <a:gd name="connsiteX0" fmla="*/ 2484388 w 4080000"/>
              <a:gd name="connsiteY0" fmla="*/ 0 h 4005288"/>
              <a:gd name="connsiteX1" fmla="*/ 4064690 w 4080000"/>
              <a:gd name="connsiteY1" fmla="*/ 567314 h 4005288"/>
              <a:gd name="connsiteX2" fmla="*/ 4080000 w 4080000"/>
              <a:gd name="connsiteY2" fmla="*/ 581229 h 4005288"/>
              <a:gd name="connsiteX3" fmla="*/ 4080000 w 4080000"/>
              <a:gd name="connsiteY3" fmla="*/ 4005288 h 4005288"/>
              <a:gd name="connsiteX4" fmla="*/ 522894 w 4080000"/>
              <a:gd name="connsiteY4" fmla="*/ 4005288 h 4005288"/>
              <a:gd name="connsiteX5" fmla="*/ 424294 w 4080000"/>
              <a:gd name="connsiteY5" fmla="*/ 3873433 h 4005288"/>
              <a:gd name="connsiteX6" fmla="*/ 0 w 4080000"/>
              <a:gd name="connsiteY6" fmla="*/ 2484388 h 4005288"/>
              <a:gd name="connsiteX7" fmla="*/ 2484388 w 4080000"/>
              <a:gd name="connsiteY7" fmla="*/ 0 h 400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80000" h="4005288">
                <a:moveTo>
                  <a:pt x="2484388" y="0"/>
                </a:moveTo>
                <a:cubicBezTo>
                  <a:pt x="3084677" y="0"/>
                  <a:pt x="3635241" y="212901"/>
                  <a:pt x="4064690" y="567314"/>
                </a:cubicBezTo>
                <a:lnTo>
                  <a:pt x="4080000" y="581229"/>
                </a:lnTo>
                <a:lnTo>
                  <a:pt x="4080000" y="4005288"/>
                </a:lnTo>
                <a:lnTo>
                  <a:pt x="522894" y="4005288"/>
                </a:lnTo>
                <a:lnTo>
                  <a:pt x="424294" y="3873433"/>
                </a:lnTo>
                <a:cubicBezTo>
                  <a:pt x="156417" y="3476923"/>
                  <a:pt x="0" y="2998922"/>
                  <a:pt x="0" y="2484388"/>
                </a:cubicBezTo>
                <a:cubicBezTo>
                  <a:pt x="0" y="1112298"/>
                  <a:pt x="1112298" y="0"/>
                  <a:pt x="2484388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BF2E2F-9C01-40A9-862B-D0B02650150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A401E8-8CD1-42A6-A65A-9BF90656FC9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511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00CC883-E224-4B3D-90D1-3072108A83ED}"/>
              </a:ext>
            </a:extLst>
          </p:cNvPr>
          <p:cNvSpPr/>
          <p:nvPr/>
        </p:nvSpPr>
        <p:spPr bwMode="gray">
          <a:xfrm>
            <a:off x="4379547" y="1484588"/>
            <a:ext cx="7812453" cy="5373412"/>
          </a:xfrm>
          <a:custGeom>
            <a:avLst/>
            <a:gdLst>
              <a:gd name="connsiteX0" fmla="*/ 4751421 w 7812453"/>
              <a:gd name="connsiteY0" fmla="*/ 0 h 5373412"/>
              <a:gd name="connsiteX1" fmla="*/ 7773767 w 7812453"/>
              <a:gd name="connsiteY1" fmla="*/ 1084994 h 5373412"/>
              <a:gd name="connsiteX2" fmla="*/ 7812453 w 7812453"/>
              <a:gd name="connsiteY2" fmla="*/ 1118505 h 5373412"/>
              <a:gd name="connsiteX3" fmla="*/ 7812453 w 7812453"/>
              <a:gd name="connsiteY3" fmla="*/ 5373412 h 5373412"/>
              <a:gd name="connsiteX4" fmla="*/ 41836 w 7812453"/>
              <a:gd name="connsiteY4" fmla="*/ 5373412 h 5373412"/>
              <a:gd name="connsiteX5" fmla="*/ 24531 w 7812453"/>
              <a:gd name="connsiteY5" fmla="*/ 5237227 h 5373412"/>
              <a:gd name="connsiteX6" fmla="*/ 0 w 7812453"/>
              <a:gd name="connsiteY6" fmla="*/ 4751422 h 5373412"/>
              <a:gd name="connsiteX7" fmla="*/ 4751421 w 7812453"/>
              <a:gd name="connsiteY7" fmla="*/ 0 h 537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2453" h="5373412">
                <a:moveTo>
                  <a:pt x="4751421" y="0"/>
                </a:moveTo>
                <a:cubicBezTo>
                  <a:pt x="5899481" y="0"/>
                  <a:pt x="6952441" y="407176"/>
                  <a:pt x="7773767" y="1084994"/>
                </a:cubicBezTo>
                <a:lnTo>
                  <a:pt x="7812453" y="1118505"/>
                </a:lnTo>
                <a:lnTo>
                  <a:pt x="7812453" y="5373412"/>
                </a:lnTo>
                <a:lnTo>
                  <a:pt x="41836" y="5373412"/>
                </a:lnTo>
                <a:lnTo>
                  <a:pt x="24531" y="5237227"/>
                </a:lnTo>
                <a:cubicBezTo>
                  <a:pt x="8309" y="5077499"/>
                  <a:pt x="0" y="4915431"/>
                  <a:pt x="0" y="4751422"/>
                </a:cubicBezTo>
                <a:cubicBezTo>
                  <a:pt x="0" y="2127284"/>
                  <a:pt x="2127284" y="0"/>
                  <a:pt x="4751421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baseline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588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6234B7-D716-449B-A67D-3990BF8609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DA65B6-71AF-4E4F-86E6-22855CFC07C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28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C348A62-6FBD-48EB-857E-EA302D879D3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439815" cy="6858000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86243 w 4439815"/>
              <a:gd name="connsiteY2" fmla="*/ 6858000 h 6858000"/>
              <a:gd name="connsiteX3" fmla="*/ 0 w 44398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9815" h="6858000">
                <a:moveTo>
                  <a:pt x="0" y="0"/>
                </a:moveTo>
                <a:lnTo>
                  <a:pt x="4439815" y="0"/>
                </a:lnTo>
                <a:lnTo>
                  <a:pt x="318624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2624" y="1988840"/>
            <a:ext cx="6840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72624" y="2564840"/>
            <a:ext cx="6840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3944238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3592" y="2132856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62FE07A-98B0-4A5A-92F3-2746287F5C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416480" y="0"/>
            <a:ext cx="1775520" cy="6858000"/>
          </a:xfrm>
          <a:custGeom>
            <a:avLst/>
            <a:gdLst>
              <a:gd name="connsiteX0" fmla="*/ 0 w 1775520"/>
              <a:gd name="connsiteY0" fmla="*/ 0 h 6858000"/>
              <a:gd name="connsiteX1" fmla="*/ 1775520 w 1775520"/>
              <a:gd name="connsiteY1" fmla="*/ 0 h 6858000"/>
              <a:gd name="connsiteX2" fmla="*/ 1775520 w 1775520"/>
              <a:gd name="connsiteY2" fmla="*/ 6858000 h 6858000"/>
              <a:gd name="connsiteX3" fmla="*/ 0 w 1775520"/>
              <a:gd name="connsiteY3" fmla="*/ 6858000 h 6858000"/>
              <a:gd name="connsiteX4" fmla="*/ 151459 w 1775520"/>
              <a:gd name="connsiteY4" fmla="*/ 6545094 h 6858000"/>
              <a:gd name="connsiteX5" fmla="*/ 825025 w 1775520"/>
              <a:gd name="connsiteY5" fmla="*/ 3429000 h 6858000"/>
              <a:gd name="connsiteX6" fmla="*/ 151459 w 1775520"/>
              <a:gd name="connsiteY6" fmla="*/ 3129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6858000">
                <a:moveTo>
                  <a:pt x="0" y="0"/>
                </a:moveTo>
                <a:lnTo>
                  <a:pt x="1775520" y="0"/>
                </a:lnTo>
                <a:lnTo>
                  <a:pt x="1775520" y="6858000"/>
                </a:lnTo>
                <a:lnTo>
                  <a:pt x="0" y="6858000"/>
                </a:lnTo>
                <a:lnTo>
                  <a:pt x="151459" y="6545094"/>
                </a:lnTo>
                <a:cubicBezTo>
                  <a:pt x="585184" y="5587332"/>
                  <a:pt x="825025" y="4534326"/>
                  <a:pt x="825025" y="3429000"/>
                </a:cubicBezTo>
                <a:cubicBezTo>
                  <a:pt x="825025" y="2323674"/>
                  <a:pt x="585184" y="1270668"/>
                  <a:pt x="151459" y="31290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828000" bIns="1152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</p:spTree>
    <p:extLst>
      <p:ext uri="{BB962C8B-B14F-4D97-AF65-F5344CB8AC3E}">
        <p14:creationId xmlns:p14="http://schemas.microsoft.com/office/powerpoint/2010/main" val="3573339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F136E2-3BE4-4236-AB51-E66E56B984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682699-B002-42DE-A4F1-8ECC139170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8151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6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9E78A5-2DE2-4427-A94C-74FACA3456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4913CC-3F53-4342-AD66-272F40088E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3453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3B53-EF69-4A9D-9323-4B8AE486A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9C5E79E-BAFF-45F7-87FC-E06A21C36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9875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2E8CB0-9A39-487F-838A-ED5119F35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Internal | T-Digital All Hands Call | March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884F46-5D92-4C39-A7C6-1698DA4C0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7108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739EE-158F-E7B1-1562-10438CE84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737CE0-AC5D-7BC6-DF26-AEA04BA6BD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F21931-764C-83BF-A904-2B50D32F58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2EFAD-F10E-4E9C-8E97-3492A5FFAA1D}" type="datetimeFigureOut">
              <a:rPr lang="en-US" smtClean="0"/>
              <a:t>11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7241E7-74F0-E7D0-AD06-7112B07F4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B9F0FC-4C01-0EB7-A867-C664ECB35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CF6-CC4C-4D0F-AEBE-6AAD6F751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088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E780C9C-54F2-4355-8844-2AA50F6BC4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97864" y="0"/>
            <a:ext cx="6894136" cy="6858000"/>
          </a:xfrm>
          <a:custGeom>
            <a:avLst/>
            <a:gdLst>
              <a:gd name="connsiteX0" fmla="*/ 6894136 w 6894136"/>
              <a:gd name="connsiteY0" fmla="*/ 0 h 6858000"/>
              <a:gd name="connsiteX1" fmla="*/ 6894136 w 6894136"/>
              <a:gd name="connsiteY1" fmla="*/ 6858000 h 6858000"/>
              <a:gd name="connsiteX2" fmla="*/ 0 w 6894136"/>
              <a:gd name="connsiteY2" fmla="*/ 6858000 h 6858000"/>
              <a:gd name="connsiteX3" fmla="*/ 1265474 w 6894136"/>
              <a:gd name="connsiteY3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4136" h="6858000">
                <a:moveTo>
                  <a:pt x="6894136" y="0"/>
                </a:move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484313"/>
            <a:ext cx="4536000" cy="2140911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789096"/>
            <a:ext cx="453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6F9BAA1A-E911-4D42-917F-05D80DB2F2D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054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9DF1A20-2D08-4001-ACCD-157B201C6B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"/>
            <a:ext cx="6979050" cy="6857999"/>
          </a:xfrm>
          <a:custGeom>
            <a:avLst/>
            <a:gdLst>
              <a:gd name="connsiteX0" fmla="*/ 0 w 6979050"/>
              <a:gd name="connsiteY0" fmla="*/ 0 h 6857999"/>
              <a:gd name="connsiteX1" fmla="*/ 6979050 w 6979050"/>
              <a:gd name="connsiteY1" fmla="*/ 0 h 6857999"/>
              <a:gd name="connsiteX2" fmla="*/ 5721751 w 6979050"/>
              <a:gd name="connsiteY2" fmla="*/ 6857999 h 6857999"/>
              <a:gd name="connsiteX3" fmla="*/ 5718661 w 6979050"/>
              <a:gd name="connsiteY3" fmla="*/ 6857999 h 6857999"/>
              <a:gd name="connsiteX4" fmla="*/ 0 w 6979050"/>
              <a:gd name="connsiteY4" fmla="*/ 685610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57999">
                <a:moveTo>
                  <a:pt x="0" y="0"/>
                </a:moveTo>
                <a:lnTo>
                  <a:pt x="6979050" y="0"/>
                </a:lnTo>
                <a:lnTo>
                  <a:pt x="5721751" y="6857999"/>
                </a:lnTo>
                <a:lnTo>
                  <a:pt x="5718661" y="6857999"/>
                </a:lnTo>
                <a:lnTo>
                  <a:pt x="0" y="685610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176113" y="1484313"/>
            <a:ext cx="4536000" cy="2142783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176113" y="3789096"/>
            <a:ext cx="453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8A7530A-F2BE-4960-A13F-DF414D0EA816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9137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981B2F9-E477-4910-B6C8-B4166311C8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76400"/>
            <a:ext cx="50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349120"/>
            <a:ext cx="5040000" cy="2160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CD1DD9C-F02A-47C8-8743-11F4261A4C3F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47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E87C846-8014-43F0-BCFB-649C50CDBD1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069183 h 6858000"/>
              <a:gd name="connsiteX3" fmla="*/ 6630185 w 12192000"/>
              <a:gd name="connsiteY3" fmla="*/ 2069183 h 6858000"/>
              <a:gd name="connsiteX4" fmla="*/ 5725212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744608" y="2348880"/>
            <a:ext cx="4968000" cy="2160000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44608" y="4672800"/>
            <a:ext cx="496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1C213A6-316B-4042-A9E0-954B2D89EE86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255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B0FE816-662D-4D4A-9BA2-ED66087E5A2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1150" cy="6858000"/>
          </a:xfrm>
          <a:custGeom>
            <a:avLst/>
            <a:gdLst>
              <a:gd name="connsiteX0" fmla="*/ 0 w 7281150"/>
              <a:gd name="connsiteY0" fmla="*/ 0 h 6858000"/>
              <a:gd name="connsiteX1" fmla="*/ 7281150 w 7281150"/>
              <a:gd name="connsiteY1" fmla="*/ 0 h 6858000"/>
              <a:gd name="connsiteX2" fmla="*/ 6011976 w 7281150"/>
              <a:gd name="connsiteY2" fmla="*/ 6858000 h 6858000"/>
              <a:gd name="connsiteX3" fmla="*/ 0 w 72811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1150" h="6858000">
                <a:moveTo>
                  <a:pt x="0" y="0"/>
                </a:moveTo>
                <a:lnTo>
                  <a:pt x="7281150" y="0"/>
                </a:lnTo>
                <a:lnTo>
                  <a:pt x="60119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8896"/>
            <a:ext cx="4464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50400" y="2564904"/>
            <a:ext cx="446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5461566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D2FF-D647-45CD-A73D-4072E12B26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248114" y="368"/>
            <a:ext cx="4943886" cy="6857632"/>
          </a:xfrm>
          <a:custGeom>
            <a:avLst/>
            <a:gdLst>
              <a:gd name="connsiteX0" fmla="*/ 4943886 w 4943886"/>
              <a:gd name="connsiteY0" fmla="*/ 0 h 6857632"/>
              <a:gd name="connsiteX1" fmla="*/ 4943886 w 4943886"/>
              <a:gd name="connsiteY1" fmla="*/ 6857632 h 6857632"/>
              <a:gd name="connsiteX2" fmla="*/ 0 w 4943886"/>
              <a:gd name="connsiteY2" fmla="*/ 6857632 h 6857632"/>
              <a:gd name="connsiteX3" fmla="*/ 1277303 w 4943886"/>
              <a:gd name="connsiteY3" fmla="*/ 586 h 685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2">
                <a:moveTo>
                  <a:pt x="4943886" y="0"/>
                </a:moveTo>
                <a:lnTo>
                  <a:pt x="4943886" y="6857632"/>
                </a:lnTo>
                <a:lnTo>
                  <a:pt x="0" y="6857632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705" y="1989160"/>
            <a:ext cx="6624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565160"/>
            <a:ext cx="662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1788708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C348A62-6FBD-48EB-857E-EA302D879D3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439815" cy="6858000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86243 w 4439815"/>
              <a:gd name="connsiteY2" fmla="*/ 6858000 h 6858000"/>
              <a:gd name="connsiteX3" fmla="*/ 0 w 44398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9815" h="6858000">
                <a:moveTo>
                  <a:pt x="0" y="0"/>
                </a:moveTo>
                <a:lnTo>
                  <a:pt x="4439815" y="0"/>
                </a:lnTo>
                <a:lnTo>
                  <a:pt x="318624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2624" y="1988840"/>
            <a:ext cx="6840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72624" y="2564840"/>
            <a:ext cx="6840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195362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B0FE816-662D-4D4A-9BA2-ED66087E5A2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1150" cy="6858000"/>
          </a:xfrm>
          <a:custGeom>
            <a:avLst/>
            <a:gdLst>
              <a:gd name="connsiteX0" fmla="*/ 0 w 7281150"/>
              <a:gd name="connsiteY0" fmla="*/ 0 h 6858000"/>
              <a:gd name="connsiteX1" fmla="*/ 7281150 w 7281150"/>
              <a:gd name="connsiteY1" fmla="*/ 0 h 6858000"/>
              <a:gd name="connsiteX2" fmla="*/ 6011976 w 7281150"/>
              <a:gd name="connsiteY2" fmla="*/ 6858000 h 6858000"/>
              <a:gd name="connsiteX3" fmla="*/ 0 w 72811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1150" h="6858000">
                <a:moveTo>
                  <a:pt x="0" y="0"/>
                </a:moveTo>
                <a:lnTo>
                  <a:pt x="7281150" y="0"/>
                </a:lnTo>
                <a:lnTo>
                  <a:pt x="60119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8896"/>
            <a:ext cx="4464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50400" y="2564904"/>
            <a:ext cx="446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3773777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0769089-5068-4C15-9B22-3B1239886F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0" name="Gerader Verbinder 34">
            <a:extLst>
              <a:ext uri="{FF2B5EF4-FFF2-40B4-BE49-F238E27FC236}">
                <a16:creationId xmlns:a16="http://schemas.microsoft.com/office/drawing/2014/main" id="{2B1F3CF2-72B7-458C-91FB-CAC468766B3E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5B15501-DA39-4405-A501-B808FEEAC7B2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20E6086C-F980-44D4-8F7B-4091DDC2E9E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F60262B2-3FC0-4933-A938-8A3C6B34A7D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B585910-715B-4A53-B6DB-D2F11724C8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D03814F-80B6-4F95-AA09-B575532BCBF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8660860-D3F9-4B5A-8FF3-EE882E7109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3877F4A-7091-4406-9127-67DCF4A164D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2A3D405-9365-47F4-B065-FA28F4C28C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5613885-F031-47F6-9EE6-97B59BF6C8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336CE15-2DA5-4767-9E03-49CA6669E5B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B14636-94C8-43AE-A018-56FDBB27DB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942DD0-8B7B-4844-8E00-A77A0694FE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4">
            <a:extLst>
              <a:ext uri="{FF2B5EF4-FFF2-40B4-BE49-F238E27FC236}">
                <a16:creationId xmlns:a16="http://schemas.microsoft.com/office/drawing/2014/main" id="{EAEB2504-940C-4858-823B-F837809221E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7">
            <a:extLst>
              <a:ext uri="{FF2B5EF4-FFF2-40B4-BE49-F238E27FC236}">
                <a16:creationId xmlns:a16="http://schemas.microsoft.com/office/drawing/2014/main" id="{6FDACDB1-F571-4B51-87C2-51B68697CAE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7488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89CEA4-0C81-4360-9410-F4CF7D802D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8AA2BF-B96A-4188-807E-4ACBAECC82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2945386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1FD126-04E4-4103-B3F0-0C5F4BE146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15485295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1C9843-9CCD-4707-BCAD-91FEBBD1A2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1001049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645BF9-9EDA-419B-AB36-7B935620D1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DE23C-5423-48CE-8882-D6C06C2846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786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60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89586-28CC-47C6-B178-BBAB317550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1528BA-A52E-4337-B474-61A6A8DD5E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53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69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00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F96E58-B088-4C9A-B95A-5833E90EA5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43D715B-42D7-4FC5-83D7-9CCA39782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27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0769089-5068-4C15-9B22-3B1239886F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0" name="Gerader Verbinder 34">
            <a:extLst>
              <a:ext uri="{FF2B5EF4-FFF2-40B4-BE49-F238E27FC236}">
                <a16:creationId xmlns:a16="http://schemas.microsoft.com/office/drawing/2014/main" id="{2B1F3CF2-72B7-458C-91FB-CAC468766B3E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5B15501-DA39-4405-A501-B808FEEAC7B2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20E6086C-F980-44D4-8F7B-4091DDC2E9E9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F60262B2-3FC0-4933-A938-8A3C6B34A7D5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B585910-715B-4A53-B6DB-D2F11724C83B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D03814F-80B6-4F95-AA09-B575532BCBF4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8660860-D3F9-4B5A-8FF3-EE882E710905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3877F4A-7091-4406-9127-67DCF4A164DF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2A3D405-9365-47F4-B065-FA28F4C28C09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5613885-F031-47F6-9EE6-97B59BF6C8E3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336CE15-2DA5-4767-9E03-49CA6669E5B9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B14636-94C8-43AE-A018-56FDBB27DB71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942DD0-8B7B-4844-8E00-A77A0694FE0C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4">
            <a:extLst>
              <a:ext uri="{FF2B5EF4-FFF2-40B4-BE49-F238E27FC236}">
                <a16:creationId xmlns:a16="http://schemas.microsoft.com/office/drawing/2014/main" id="{EAEB2504-940C-4858-823B-F837809221E5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7">
            <a:extLst>
              <a:ext uri="{FF2B5EF4-FFF2-40B4-BE49-F238E27FC236}">
                <a16:creationId xmlns:a16="http://schemas.microsoft.com/office/drawing/2014/main" id="{6FDACDB1-F571-4B51-87C2-51B68697CAEB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21929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8" name="Freeform: Shape 12">
            <a:extLst>
              <a:ext uri="{FF2B5EF4-FFF2-40B4-BE49-F238E27FC236}">
                <a16:creationId xmlns:a16="http://schemas.microsoft.com/office/drawing/2014/main" id="{9D0862D2-AED8-4E0B-92B3-CB48CC15A0E0}"/>
              </a:ext>
            </a:extLst>
          </p:cNvPr>
          <p:cNvSpPr/>
          <p:nvPr userDrawn="1"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1D49593-9508-492B-90C5-F09125A9C1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C7C8EAF-3E10-43D6-9B69-D139BF64DF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62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4588"/>
            <a:ext cx="3528000" cy="489716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2A89A98-38F0-4125-B055-9C860DA9FC1A}"/>
              </a:ext>
            </a:extLst>
          </p:cNvPr>
          <p:cNvSpPr/>
          <p:nvPr userDrawn="1"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FBB1CA-C61D-4A97-B9D5-A805CCF931E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F85986-C820-4AB9-8209-3195C3E49A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266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38C1338-03E2-479A-84CD-1A9C778CC6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920536" y="0"/>
            <a:ext cx="1271464" cy="6858000"/>
          </a:xfrm>
          <a:custGeom>
            <a:avLst/>
            <a:gdLst>
              <a:gd name="connsiteX0" fmla="*/ 1271464 w 1271464"/>
              <a:gd name="connsiteY0" fmla="*/ 0 h 6858000"/>
              <a:gd name="connsiteX1" fmla="*/ 1271464 w 1271464"/>
              <a:gd name="connsiteY1" fmla="*/ 6858000 h 6858000"/>
              <a:gd name="connsiteX2" fmla="*/ 0 w 1271464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1464" h="6858000">
                <a:moveTo>
                  <a:pt x="1271464" y="0"/>
                </a:move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620000" bIns="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White </a:t>
            </a:r>
            <a:br>
              <a:rPr lang="en-US"/>
            </a:br>
            <a:r>
              <a:rPr lang="en-US"/>
              <a:t>background </a:t>
            </a:r>
            <a:br>
              <a:rPr lang="en-US"/>
            </a:br>
            <a:r>
              <a:rPr lang="en-US"/>
              <a:t>or add gradient </a:t>
            </a:r>
            <a:br>
              <a:rPr lang="en-US"/>
            </a:br>
            <a:r>
              <a:rPr lang="en-US"/>
              <a:t>as a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4800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“Click to insert a powerful quote, multi-lined possible”</a:t>
            </a:r>
          </a:p>
          <a:p>
            <a:pPr lvl="1"/>
            <a:r>
              <a:rPr lang="en-US"/>
              <a:t>– Author</a:t>
            </a:r>
          </a:p>
        </p:txBody>
      </p:sp>
    </p:spTree>
    <p:extLst>
      <p:ext uri="{BB962C8B-B14F-4D97-AF65-F5344CB8AC3E}">
        <p14:creationId xmlns:p14="http://schemas.microsoft.com/office/powerpoint/2010/main" val="3744082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D8C59-AB08-4E68-ABC5-054B8E96A1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ABB7E4-4C03-4625-A9FD-0653E9CDEE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9125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5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2B3D04-CC57-411E-8F02-823234E22B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E116DD-4D66-41B8-8695-AE80DF78ED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66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3C2C57A-9E9C-4D5E-A671-30A26FCD5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4D60B8-EBC4-4141-8E22-C02E87953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2488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DF5307-E60A-4BDF-B8C6-709DBA494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E5E996-493D-48DC-9368-0094BFC4E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47718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27448" y="3284984"/>
            <a:ext cx="4608000" cy="1637206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127448" y="5085240"/>
            <a:ext cx="460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4922ADEE-68C4-47F5-9D70-00C73215EFE0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27448" y="1992667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848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700808"/>
            <a:ext cx="5760000" cy="1655968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536776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7941A39-F637-41A7-A058-9319063D2141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5" y="476250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4713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200000" y="3068960"/>
            <a:ext cx="7488000" cy="1497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200000" y="4725200"/>
            <a:ext cx="748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11DC7F0-EE7F-426E-9296-81485E71088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127448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4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89CEA4-0C81-4360-9410-F4CF7D802D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8AA2BF-B96A-4188-807E-4ACBAECC82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Internal | T-Digital All Hands Call | March 2024</a:t>
            </a:r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35040768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852936"/>
            <a:ext cx="7704000" cy="1565198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9307EB07-10EC-4AF9-8B6D-67DBE91E28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2"/>
            <a:ext cx="12192000" cy="6857999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9129861 w 12192000"/>
              <a:gd name="connsiteY3" fmla="*/ 6857999 h 6857999"/>
              <a:gd name="connsiteX4" fmla="*/ 9129861 w 12192000"/>
              <a:gd name="connsiteY4" fmla="*/ 6525343 h 6857999"/>
              <a:gd name="connsiteX5" fmla="*/ 9132754 w 12192000"/>
              <a:gd name="connsiteY5" fmla="*/ 6525343 h 6857999"/>
              <a:gd name="connsiteX6" fmla="*/ 9132754 w 12192000"/>
              <a:gd name="connsiteY6" fmla="*/ 6451406 h 6857999"/>
              <a:gd name="connsiteX7" fmla="*/ 9132754 w 12192000"/>
              <a:gd name="connsiteY7" fmla="*/ 5050775 h 6857999"/>
              <a:gd name="connsiteX8" fmla="*/ 9132754 w 12192000"/>
              <a:gd name="connsiteY8" fmla="*/ 2711435 h 6857999"/>
              <a:gd name="connsiteX9" fmla="*/ 9133722 w 12192000"/>
              <a:gd name="connsiteY9" fmla="*/ 2711435 h 6857999"/>
              <a:gd name="connsiteX10" fmla="*/ 8523560 w 12192000"/>
              <a:gd name="connsiteY10" fmla="*/ 2109455 h 6857999"/>
              <a:gd name="connsiteX11" fmla="*/ 8416132 w 12192000"/>
              <a:gd name="connsiteY11" fmla="*/ 2109455 h 6857999"/>
              <a:gd name="connsiteX12" fmla="*/ 8397240 w 12192000"/>
              <a:gd name="connsiteY12" fmla="*/ 2107550 h 6857999"/>
              <a:gd name="connsiteX13" fmla="*/ 7579995 w 12192000"/>
              <a:gd name="connsiteY13" fmla="*/ 2107550 h 6857999"/>
              <a:gd name="connsiteX14" fmla="*/ 1969771 w 12192000"/>
              <a:gd name="connsiteY14" fmla="*/ 2107550 h 6857999"/>
              <a:gd name="connsiteX15" fmla="*/ 1859984 w 12192000"/>
              <a:gd name="connsiteY15" fmla="*/ 2088924 h 6857999"/>
              <a:gd name="connsiteX16" fmla="*/ 1387276 w 12192000"/>
              <a:gd name="connsiteY16" fmla="*/ 1478900 h 6857999"/>
              <a:gd name="connsiteX17" fmla="*/ 1387276 w 12192000"/>
              <a:gd name="connsiteY17" fmla="*/ 1116950 h 6857999"/>
              <a:gd name="connsiteX18" fmla="*/ 874035 w 12192000"/>
              <a:gd name="connsiteY18" fmla="*/ 496377 h 6857999"/>
              <a:gd name="connsiteX19" fmla="*/ 865733 w 12192000"/>
              <a:gd name="connsiteY19" fmla="*/ 495556 h 6857999"/>
              <a:gd name="connsiteX20" fmla="*/ 862233 w 12192000"/>
              <a:gd name="connsiteY20" fmla="*/ 494472 h 6857999"/>
              <a:gd name="connsiteX21" fmla="*/ 734378 w 12192000"/>
              <a:gd name="connsiteY21" fmla="*/ 481632 h 6857999"/>
              <a:gd name="connsiteX22" fmla="*/ 263352 w 12192000"/>
              <a:gd name="connsiteY22" fmla="*/ 481632 h 6857999"/>
              <a:gd name="connsiteX23" fmla="*/ 263352 w 12192000"/>
              <a:gd name="connsiteY23" fmla="*/ 483393 h 6857999"/>
              <a:gd name="connsiteX24" fmla="*/ 0 w 12192000"/>
              <a:gd name="connsiteY24" fmla="*/ 48339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9129861" y="6857999"/>
                </a:lnTo>
                <a:lnTo>
                  <a:pt x="9129861" y="6525343"/>
                </a:lnTo>
                <a:lnTo>
                  <a:pt x="9132754" y="6525343"/>
                </a:lnTo>
                <a:lnTo>
                  <a:pt x="9132754" y="6451406"/>
                </a:lnTo>
                <a:cubicBezTo>
                  <a:pt x="9132754" y="6014336"/>
                  <a:pt x="9132754" y="5279315"/>
                  <a:pt x="9132754" y="5050775"/>
                </a:cubicBezTo>
                <a:lnTo>
                  <a:pt x="9132754" y="2711435"/>
                </a:lnTo>
                <a:lnTo>
                  <a:pt x="9133722" y="2711435"/>
                </a:lnTo>
                <a:cubicBezTo>
                  <a:pt x="9134688" y="2379012"/>
                  <a:pt x="8861035" y="2109455"/>
                  <a:pt x="8523560" y="2109455"/>
                </a:cubicBezTo>
                <a:lnTo>
                  <a:pt x="8416132" y="2109455"/>
                </a:lnTo>
                <a:lnTo>
                  <a:pt x="8397240" y="2107550"/>
                </a:lnTo>
                <a:lnTo>
                  <a:pt x="7579995" y="2107550"/>
                </a:lnTo>
                <a:lnTo>
                  <a:pt x="1969771" y="2107550"/>
                </a:lnTo>
                <a:lnTo>
                  <a:pt x="1859984" y="2088924"/>
                </a:lnTo>
                <a:cubicBezTo>
                  <a:pt x="1587168" y="2015634"/>
                  <a:pt x="1387276" y="1770603"/>
                  <a:pt x="1387276" y="1478900"/>
                </a:cubicBezTo>
                <a:lnTo>
                  <a:pt x="1387276" y="1116950"/>
                </a:lnTo>
                <a:cubicBezTo>
                  <a:pt x="1387276" y="810245"/>
                  <a:pt x="1167395" y="555317"/>
                  <a:pt x="874035" y="496377"/>
                </a:cubicBezTo>
                <a:lnTo>
                  <a:pt x="865733" y="495556"/>
                </a:lnTo>
                <a:lnTo>
                  <a:pt x="862233" y="494472"/>
                </a:lnTo>
                <a:cubicBezTo>
                  <a:pt x="820952" y="486052"/>
                  <a:pt x="778193" y="481632"/>
                  <a:pt x="734378" y="481632"/>
                </a:cubicBezTo>
                <a:lnTo>
                  <a:pt x="263352" y="481632"/>
                </a:lnTo>
                <a:lnTo>
                  <a:pt x="263352" y="483393"/>
                </a:lnTo>
                <a:lnTo>
                  <a:pt x="0" y="4833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581184"/>
            <a:ext cx="770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7BA0EDE-E365-4B88-82E1-FD80DF264239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9425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853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C99E870-5021-4065-9A28-480494C5D2F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8168165" cy="6858000"/>
          </a:xfrm>
          <a:custGeom>
            <a:avLst/>
            <a:gdLst>
              <a:gd name="connsiteX0" fmla="*/ 0 w 8168165"/>
              <a:gd name="connsiteY0" fmla="*/ 0 h 6858000"/>
              <a:gd name="connsiteX1" fmla="*/ 8168165 w 8168165"/>
              <a:gd name="connsiteY1" fmla="*/ 0 h 6858000"/>
              <a:gd name="connsiteX2" fmla="*/ 8166894 w 8168165"/>
              <a:gd name="connsiteY2" fmla="*/ 468273 h 6858000"/>
              <a:gd name="connsiteX3" fmla="*/ 8165601 w 8168165"/>
              <a:gd name="connsiteY3" fmla="*/ 944495 h 6858000"/>
              <a:gd name="connsiteX4" fmla="*/ 7622354 w 8168165"/>
              <a:gd name="connsiteY4" fmla="*/ 1488440 h 6858000"/>
              <a:gd name="connsiteX5" fmla="*/ 4623367 w 8168165"/>
              <a:gd name="connsiteY5" fmla="*/ 1488440 h 6858000"/>
              <a:gd name="connsiteX6" fmla="*/ 4526678 w 8168165"/>
              <a:gd name="connsiteY6" fmla="*/ 1488440 h 6858000"/>
              <a:gd name="connsiteX7" fmla="*/ 3983432 w 8168165"/>
              <a:gd name="connsiteY7" fmla="*/ 2032385 h 6858000"/>
              <a:gd name="connsiteX8" fmla="*/ 3984357 w 8168165"/>
              <a:gd name="connsiteY8" fmla="*/ 2032385 h 6858000"/>
              <a:gd name="connsiteX9" fmla="*/ 3984357 w 8168165"/>
              <a:gd name="connsiteY9" fmla="*/ 4045072 h 6858000"/>
              <a:gd name="connsiteX10" fmla="*/ 3441109 w 8168165"/>
              <a:gd name="connsiteY10" fmla="*/ 4589017 h 6858000"/>
              <a:gd name="connsiteX11" fmla="*/ 3110235 w 8168165"/>
              <a:gd name="connsiteY11" fmla="*/ 4589017 h 6858000"/>
              <a:gd name="connsiteX12" fmla="*/ 3013546 w 8168165"/>
              <a:gd name="connsiteY12" fmla="*/ 4589017 h 6858000"/>
              <a:gd name="connsiteX13" fmla="*/ 2470298 w 8168165"/>
              <a:gd name="connsiteY13" fmla="*/ 5132963 h 6858000"/>
              <a:gd name="connsiteX14" fmla="*/ 2470298 w 8168165"/>
              <a:gd name="connsiteY14" fmla="*/ 6858000 h 6858000"/>
              <a:gd name="connsiteX15" fmla="*/ 0 w 8168165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68165" h="6858000">
                <a:moveTo>
                  <a:pt x="0" y="0"/>
                </a:moveTo>
                <a:lnTo>
                  <a:pt x="8168165" y="0"/>
                </a:lnTo>
                <a:lnTo>
                  <a:pt x="8166894" y="468273"/>
                </a:lnTo>
                <a:cubicBezTo>
                  <a:pt x="8166463" y="628601"/>
                  <a:pt x="8166032" y="788929"/>
                  <a:pt x="8165601" y="944495"/>
                </a:cubicBezTo>
                <a:cubicBezTo>
                  <a:pt x="8165601" y="1244731"/>
                  <a:pt x="7922204" y="1488440"/>
                  <a:pt x="7622354" y="1488440"/>
                </a:cubicBezTo>
                <a:lnTo>
                  <a:pt x="4623367" y="1488440"/>
                </a:lnTo>
                <a:lnTo>
                  <a:pt x="4526678" y="1488440"/>
                </a:lnTo>
                <a:cubicBezTo>
                  <a:pt x="4226828" y="1488440"/>
                  <a:pt x="3983432" y="1732150"/>
                  <a:pt x="3983432" y="2032385"/>
                </a:cubicBezTo>
                <a:lnTo>
                  <a:pt x="3984357" y="2032385"/>
                </a:lnTo>
                <a:lnTo>
                  <a:pt x="3984357" y="4045072"/>
                </a:lnTo>
                <a:cubicBezTo>
                  <a:pt x="3984357" y="4345308"/>
                  <a:pt x="3740960" y="4589017"/>
                  <a:pt x="3441109" y="4589017"/>
                </a:cubicBezTo>
                <a:lnTo>
                  <a:pt x="3110235" y="4589017"/>
                </a:lnTo>
                <a:lnTo>
                  <a:pt x="3013546" y="4589017"/>
                </a:lnTo>
                <a:cubicBezTo>
                  <a:pt x="2713695" y="4589017"/>
                  <a:pt x="2470298" y="4832727"/>
                  <a:pt x="2470298" y="5132963"/>
                </a:cubicBezTo>
                <a:lnTo>
                  <a:pt x="247029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5840" y="1989000"/>
            <a:ext cx="7056000" cy="2448000"/>
          </a:xfrm>
        </p:spPr>
        <p:txBody>
          <a:bodyPr anchor="b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o separate chapters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840" y="4604814"/>
            <a:ext cx="705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155730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753D985-A9FD-4764-9B68-2C7587A05E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279529" y="0"/>
            <a:ext cx="6912471" cy="6858000"/>
          </a:xfrm>
          <a:custGeom>
            <a:avLst/>
            <a:gdLst>
              <a:gd name="connsiteX0" fmla="*/ 1020613 w 6912471"/>
              <a:gd name="connsiteY0" fmla="*/ 0 h 6858000"/>
              <a:gd name="connsiteX1" fmla="*/ 6912471 w 6912471"/>
              <a:gd name="connsiteY1" fmla="*/ 0 h 6858000"/>
              <a:gd name="connsiteX2" fmla="*/ 6912471 w 6912471"/>
              <a:gd name="connsiteY2" fmla="*/ 6858000 h 6858000"/>
              <a:gd name="connsiteX3" fmla="*/ 0 w 6912471"/>
              <a:gd name="connsiteY3" fmla="*/ 6858000 h 6858000"/>
              <a:gd name="connsiteX4" fmla="*/ 4907 w 6912471"/>
              <a:gd name="connsiteY4" fmla="*/ 6809259 h 6858000"/>
              <a:gd name="connsiteX5" fmla="*/ 708823 w 6912471"/>
              <a:gd name="connsiteY5" fmla="*/ 6235368 h 6858000"/>
              <a:gd name="connsiteX6" fmla="*/ 2113155 w 6912471"/>
              <a:gd name="connsiteY6" fmla="*/ 6235368 h 6858000"/>
              <a:gd name="connsiteX7" fmla="*/ 2192070 w 6912471"/>
              <a:gd name="connsiteY7" fmla="*/ 6235368 h 6858000"/>
              <a:gd name="connsiteX8" fmla="*/ 2910597 w 6912471"/>
              <a:gd name="connsiteY8" fmla="*/ 5516290 h 6858000"/>
              <a:gd name="connsiteX9" fmla="*/ 2910597 w 6912471"/>
              <a:gd name="connsiteY9" fmla="*/ 1498449 h 6858000"/>
              <a:gd name="connsiteX10" fmla="*/ 2192070 w 6912471"/>
              <a:gd name="connsiteY10" fmla="*/ 779372 h 6858000"/>
              <a:gd name="connsiteX11" fmla="*/ 2113155 w 6912471"/>
              <a:gd name="connsiteY11" fmla="*/ 779372 h 6858000"/>
              <a:gd name="connsiteX12" fmla="*/ 1739139 w 6912471"/>
              <a:gd name="connsiteY12" fmla="*/ 779372 h 6858000"/>
              <a:gd name="connsiteX13" fmla="*/ 1020613 w 6912471"/>
              <a:gd name="connsiteY13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12471" h="6858000">
                <a:moveTo>
                  <a:pt x="1020613" y="0"/>
                </a:moveTo>
                <a:lnTo>
                  <a:pt x="6912471" y="0"/>
                </a:lnTo>
                <a:lnTo>
                  <a:pt x="6912471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13155" y="6235368"/>
                </a:ln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2113155" y="779372"/>
                </a:ln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1989000"/>
            <a:ext cx="6984000" cy="2448000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04813"/>
            <a:ext cx="698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434261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F48F58B-A7D8-4498-A74C-4D7FA8671D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2034" cy="6858000"/>
          </a:xfrm>
          <a:custGeom>
            <a:avLst/>
            <a:gdLst>
              <a:gd name="connsiteX0" fmla="*/ 0 w 7282034"/>
              <a:gd name="connsiteY0" fmla="*/ 0 h 6858000"/>
              <a:gd name="connsiteX1" fmla="*/ 7282034 w 7282034"/>
              <a:gd name="connsiteY1" fmla="*/ 0 h 6858000"/>
              <a:gd name="connsiteX2" fmla="*/ 7282034 w 7282034"/>
              <a:gd name="connsiteY2" fmla="*/ 630974 h 6858000"/>
              <a:gd name="connsiteX3" fmla="*/ 6567195 w 7282034"/>
              <a:gd name="connsiteY3" fmla="*/ 1478485 h 6858000"/>
              <a:gd name="connsiteX4" fmla="*/ 6485935 w 7282034"/>
              <a:gd name="connsiteY4" fmla="*/ 1482876 h 6858000"/>
              <a:gd name="connsiteX5" fmla="*/ 5163973 w 7282034"/>
              <a:gd name="connsiteY5" fmla="*/ 1482876 h 6858000"/>
              <a:gd name="connsiteX6" fmla="*/ 5163954 w 7282034"/>
              <a:gd name="connsiteY6" fmla="*/ 1482877 h 6858000"/>
              <a:gd name="connsiteX7" fmla="*/ 5092709 w 7282034"/>
              <a:gd name="connsiteY7" fmla="*/ 1482877 h 6858000"/>
              <a:gd name="connsiteX8" fmla="*/ 4296592 w 7282034"/>
              <a:gd name="connsiteY8" fmla="*/ 2334779 h 6858000"/>
              <a:gd name="connsiteX9" fmla="*/ 4296592 w 7282034"/>
              <a:gd name="connsiteY9" fmla="*/ 6858000 h 6858000"/>
              <a:gd name="connsiteX10" fmla="*/ 0 w 7282034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82034" h="6858000">
                <a:moveTo>
                  <a:pt x="0" y="0"/>
                </a:moveTo>
                <a:lnTo>
                  <a:pt x="7282034" y="0"/>
                </a:lnTo>
                <a:lnTo>
                  <a:pt x="7282034" y="630974"/>
                </a:lnTo>
                <a:cubicBezTo>
                  <a:pt x="7282034" y="1072616"/>
                  <a:pt x="6968122" y="1434922"/>
                  <a:pt x="6567195" y="1478485"/>
                </a:cubicBezTo>
                <a:lnTo>
                  <a:pt x="6485935" y="1482876"/>
                </a:lnTo>
                <a:lnTo>
                  <a:pt x="5163973" y="1482876"/>
                </a:lnTo>
                <a:lnTo>
                  <a:pt x="5163954" y="1482877"/>
                </a:lnTo>
                <a:lnTo>
                  <a:pt x="5092709" y="1482877"/>
                </a:lnTo>
                <a:cubicBezTo>
                  <a:pt x="4653755" y="1482877"/>
                  <a:pt x="4296592" y="1863694"/>
                  <a:pt x="4296592" y="2334779"/>
                </a:cubicBezTo>
                <a:lnTo>
                  <a:pt x="42965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16000" y="1989000"/>
            <a:ext cx="6696000" cy="2448000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000" y="4604513"/>
            <a:ext cx="669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664856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594714" y="0"/>
            <a:ext cx="6597286" cy="6858000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/>
              <a:t>White background or add </a:t>
            </a:r>
            <a:br>
              <a:rPr lang="en-US"/>
            </a:br>
            <a:r>
              <a:rPr lang="en-US"/>
              <a:t>gradient as a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E672D56-15CA-4A30-BD95-1720D4510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472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85560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96726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CAB5A7-FCF2-4304-9763-DF06FCF445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2E0567-36A2-40E6-871A-F7CFABE600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8559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6187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946887-58C2-463F-973E-3197B8AC64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284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624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CCDACF-6717-47AC-AFF3-BD55D223381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8834F5-8BD1-47C8-92D0-13895D504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108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2"/>
            <a:ext cx="3528000" cy="489743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2"/>
            <a:ext cx="3600000" cy="489743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2"/>
            <a:ext cx="3528000" cy="489743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A285C3-C25F-44EA-AA94-B352A32E66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Internal | T-Digital All Hands Call | May 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F697A7-E7AF-430A-9251-E1177E3F00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628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50" cy="48970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9822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ternal | T-Digital All Hands Call | March 2024</a:t>
            </a:r>
            <a:endParaRPr lang="en-GR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5D938FFB-F9DE-4440-AFE7-352E3FC8D000}" type="slidenum">
              <a:rPr lang="en-GR" smtClean="0"/>
              <a:t>‹#›</a:t>
            </a:fld>
            <a:endParaRPr lang="en-GR"/>
          </a:p>
        </p:txBody>
      </p: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6ABAA016-7E93-4746-B97E-C5BEEEC441D1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4">
            <a:extLst>
              <a:ext uri="{FF2B5EF4-FFF2-40B4-BE49-F238E27FC236}">
                <a16:creationId xmlns:a16="http://schemas.microsoft.com/office/drawing/2014/main" id="{7552A32A-6F02-474B-9C7E-E0B4CC3582BC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4">
            <a:extLst>
              <a:ext uri="{FF2B5EF4-FFF2-40B4-BE49-F238E27FC236}">
                <a16:creationId xmlns:a16="http://schemas.microsoft.com/office/drawing/2014/main" id="{D0B16D45-53B5-4DBF-8E57-06CA9A86E703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78AA04B-918F-4D40-A391-BF3B18F58B43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BD96E97-9BA7-4E3E-A9C2-87882CE9B682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C3B3188-2DFB-4EAE-B916-8338F8959830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AF2FA0F-2910-4B07-9AE8-C61BD24F4753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4A84EB4-277B-4B14-9434-662F666B2B2E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2D4A9C3-2A22-4099-A755-D44118620B9F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AF88AD17-67FE-4421-81DF-B5630CA12896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1FE4F92-3BD0-42CE-87DE-F4F39963A3F6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B915BF1-CC33-48EB-856F-8685951631DB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5FF1E84-FC22-4E3A-9D5B-2B569BB83C53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4">
            <a:extLst>
              <a:ext uri="{FF2B5EF4-FFF2-40B4-BE49-F238E27FC236}">
                <a16:creationId xmlns:a16="http://schemas.microsoft.com/office/drawing/2014/main" id="{446BADBC-7AE7-4AC0-B7B1-FE319EC0CF76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7">
            <a:extLst>
              <a:ext uri="{FF2B5EF4-FFF2-40B4-BE49-F238E27FC236}">
                <a16:creationId xmlns:a16="http://schemas.microsoft.com/office/drawing/2014/main" id="{05A70AEF-370F-44FC-B5F2-E6060FF46101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41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  <p:sldLayoutId id="2147484471" r:id="rId11"/>
    <p:sldLayoutId id="2147484472" r:id="rId12"/>
    <p:sldLayoutId id="2147484473" r:id="rId13"/>
    <p:sldLayoutId id="2147484474" r:id="rId14"/>
    <p:sldLayoutId id="2147484475" r:id="rId15"/>
    <p:sldLayoutId id="2147484476" r:id="rId16"/>
    <p:sldLayoutId id="2147484477" r:id="rId17"/>
    <p:sldLayoutId id="2147484478" r:id="rId18"/>
    <p:sldLayoutId id="2147484479" r:id="rId19"/>
    <p:sldLayoutId id="2147484480" r:id="rId20"/>
    <p:sldLayoutId id="2147484481" r:id="rId21"/>
    <p:sldLayoutId id="2147483682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99" cy="4896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7664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766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Gerader Verbinder 34">
            <a:extLst>
              <a:ext uri="{FF2B5EF4-FFF2-40B4-BE49-F238E27FC236}">
                <a16:creationId xmlns:a16="http://schemas.microsoft.com/office/drawing/2014/main" id="{89012FEA-181D-4C9D-8A65-9AEFE1BC2F14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4">
            <a:extLst>
              <a:ext uri="{FF2B5EF4-FFF2-40B4-BE49-F238E27FC236}">
                <a16:creationId xmlns:a16="http://schemas.microsoft.com/office/drawing/2014/main" id="{0BD1867E-60C6-4F22-919E-9943D2CCA2B5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4">
            <a:extLst>
              <a:ext uri="{FF2B5EF4-FFF2-40B4-BE49-F238E27FC236}">
                <a16:creationId xmlns:a16="http://schemas.microsoft.com/office/drawing/2014/main" id="{E332571D-E824-46A7-BFCF-5DB25A0447BB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8">
            <a:extLst>
              <a:ext uri="{FF2B5EF4-FFF2-40B4-BE49-F238E27FC236}">
                <a16:creationId xmlns:a16="http://schemas.microsoft.com/office/drawing/2014/main" id="{F5984FF4-F96E-4979-BA1B-63CD5473D552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9">
            <a:extLst>
              <a:ext uri="{FF2B5EF4-FFF2-40B4-BE49-F238E27FC236}">
                <a16:creationId xmlns:a16="http://schemas.microsoft.com/office/drawing/2014/main" id="{922CA33F-150A-427F-9779-E59E62D799F3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0">
            <a:extLst>
              <a:ext uri="{FF2B5EF4-FFF2-40B4-BE49-F238E27FC236}">
                <a16:creationId xmlns:a16="http://schemas.microsoft.com/office/drawing/2014/main" id="{349907C3-6C09-46F9-B069-0F9AE8CD97CE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1">
            <a:extLst>
              <a:ext uri="{FF2B5EF4-FFF2-40B4-BE49-F238E27FC236}">
                <a16:creationId xmlns:a16="http://schemas.microsoft.com/office/drawing/2014/main" id="{3D323137-6269-4E4B-9729-792BB8633FAB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2">
            <a:extLst>
              <a:ext uri="{FF2B5EF4-FFF2-40B4-BE49-F238E27FC236}">
                <a16:creationId xmlns:a16="http://schemas.microsoft.com/office/drawing/2014/main" id="{C2C779C4-6C20-4B5F-A0A8-B52F4B765B89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33">
            <a:extLst>
              <a:ext uri="{FF2B5EF4-FFF2-40B4-BE49-F238E27FC236}">
                <a16:creationId xmlns:a16="http://schemas.microsoft.com/office/drawing/2014/main" id="{D615CF61-FA43-4282-9D31-6E1682909B9A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34">
            <a:extLst>
              <a:ext uri="{FF2B5EF4-FFF2-40B4-BE49-F238E27FC236}">
                <a16:creationId xmlns:a16="http://schemas.microsoft.com/office/drawing/2014/main" id="{19F59382-5CDC-4127-B7AF-EFE6C64CA888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35">
            <a:extLst>
              <a:ext uri="{FF2B5EF4-FFF2-40B4-BE49-F238E27FC236}">
                <a16:creationId xmlns:a16="http://schemas.microsoft.com/office/drawing/2014/main" id="{93739C8E-A91E-4DF6-8B71-C95EA29C5468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6">
            <a:extLst>
              <a:ext uri="{FF2B5EF4-FFF2-40B4-BE49-F238E27FC236}">
                <a16:creationId xmlns:a16="http://schemas.microsoft.com/office/drawing/2014/main" id="{7DD298F8-8C16-4A64-8645-6DCB0D7F035E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7">
            <a:extLst>
              <a:ext uri="{FF2B5EF4-FFF2-40B4-BE49-F238E27FC236}">
                <a16:creationId xmlns:a16="http://schemas.microsoft.com/office/drawing/2014/main" id="{D09D5B22-B226-42FD-A395-C5727188BBD4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02F409E6-7F30-4ED2-8368-F02084442AFA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7">
            <a:extLst>
              <a:ext uri="{FF2B5EF4-FFF2-40B4-BE49-F238E27FC236}">
                <a16:creationId xmlns:a16="http://schemas.microsoft.com/office/drawing/2014/main" id="{FA7E9854-B87E-4C7F-A30D-B8458DEC0DFF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3097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99" cy="4896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7664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766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Gerader Verbinder 34">
            <a:extLst>
              <a:ext uri="{FF2B5EF4-FFF2-40B4-BE49-F238E27FC236}">
                <a16:creationId xmlns:a16="http://schemas.microsoft.com/office/drawing/2014/main" id="{89012FEA-181D-4C9D-8A65-9AEFE1BC2F14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4">
            <a:extLst>
              <a:ext uri="{FF2B5EF4-FFF2-40B4-BE49-F238E27FC236}">
                <a16:creationId xmlns:a16="http://schemas.microsoft.com/office/drawing/2014/main" id="{0BD1867E-60C6-4F22-919E-9943D2CCA2B5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4">
            <a:extLst>
              <a:ext uri="{FF2B5EF4-FFF2-40B4-BE49-F238E27FC236}">
                <a16:creationId xmlns:a16="http://schemas.microsoft.com/office/drawing/2014/main" id="{E332571D-E824-46A7-BFCF-5DB25A0447BB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8">
            <a:extLst>
              <a:ext uri="{FF2B5EF4-FFF2-40B4-BE49-F238E27FC236}">
                <a16:creationId xmlns:a16="http://schemas.microsoft.com/office/drawing/2014/main" id="{F5984FF4-F96E-4979-BA1B-63CD5473D552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9">
            <a:extLst>
              <a:ext uri="{FF2B5EF4-FFF2-40B4-BE49-F238E27FC236}">
                <a16:creationId xmlns:a16="http://schemas.microsoft.com/office/drawing/2014/main" id="{922CA33F-150A-427F-9779-E59E62D799F3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0">
            <a:extLst>
              <a:ext uri="{FF2B5EF4-FFF2-40B4-BE49-F238E27FC236}">
                <a16:creationId xmlns:a16="http://schemas.microsoft.com/office/drawing/2014/main" id="{349907C3-6C09-46F9-B069-0F9AE8CD97CE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1">
            <a:extLst>
              <a:ext uri="{FF2B5EF4-FFF2-40B4-BE49-F238E27FC236}">
                <a16:creationId xmlns:a16="http://schemas.microsoft.com/office/drawing/2014/main" id="{3D323137-6269-4E4B-9729-792BB8633FAB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2">
            <a:extLst>
              <a:ext uri="{FF2B5EF4-FFF2-40B4-BE49-F238E27FC236}">
                <a16:creationId xmlns:a16="http://schemas.microsoft.com/office/drawing/2014/main" id="{C2C779C4-6C20-4B5F-A0A8-B52F4B765B89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33">
            <a:extLst>
              <a:ext uri="{FF2B5EF4-FFF2-40B4-BE49-F238E27FC236}">
                <a16:creationId xmlns:a16="http://schemas.microsoft.com/office/drawing/2014/main" id="{D615CF61-FA43-4282-9D31-6E1682909B9A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34">
            <a:extLst>
              <a:ext uri="{FF2B5EF4-FFF2-40B4-BE49-F238E27FC236}">
                <a16:creationId xmlns:a16="http://schemas.microsoft.com/office/drawing/2014/main" id="{19F59382-5CDC-4127-B7AF-EFE6C64CA888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35">
            <a:extLst>
              <a:ext uri="{FF2B5EF4-FFF2-40B4-BE49-F238E27FC236}">
                <a16:creationId xmlns:a16="http://schemas.microsoft.com/office/drawing/2014/main" id="{93739C8E-A91E-4DF6-8B71-C95EA29C5468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6">
            <a:extLst>
              <a:ext uri="{FF2B5EF4-FFF2-40B4-BE49-F238E27FC236}">
                <a16:creationId xmlns:a16="http://schemas.microsoft.com/office/drawing/2014/main" id="{7DD298F8-8C16-4A64-8645-6DCB0D7F035E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7">
            <a:extLst>
              <a:ext uri="{FF2B5EF4-FFF2-40B4-BE49-F238E27FC236}">
                <a16:creationId xmlns:a16="http://schemas.microsoft.com/office/drawing/2014/main" id="{D09D5B22-B226-42FD-A395-C5727188BBD4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02F409E6-7F30-4ED2-8368-F02084442AFA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7">
            <a:extLst>
              <a:ext uri="{FF2B5EF4-FFF2-40B4-BE49-F238E27FC236}">
                <a16:creationId xmlns:a16="http://schemas.microsoft.com/office/drawing/2014/main" id="{FA7E9854-B87E-4C7F-A30D-B8458DEC0DFF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565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1" r:id="rId2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50" cy="48970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9822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6ABAA016-7E93-4746-B97E-C5BEEEC441D1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4">
            <a:extLst>
              <a:ext uri="{FF2B5EF4-FFF2-40B4-BE49-F238E27FC236}">
                <a16:creationId xmlns:a16="http://schemas.microsoft.com/office/drawing/2014/main" id="{7552A32A-6F02-474B-9C7E-E0B4CC3582BC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4">
            <a:extLst>
              <a:ext uri="{FF2B5EF4-FFF2-40B4-BE49-F238E27FC236}">
                <a16:creationId xmlns:a16="http://schemas.microsoft.com/office/drawing/2014/main" id="{D0B16D45-53B5-4DBF-8E57-06CA9A86E703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78AA04B-918F-4D40-A391-BF3B18F58B4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BD96E97-9BA7-4E3E-A9C2-87882CE9B68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C3B3188-2DFB-4EAE-B916-8338F895983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AF2FA0F-2910-4B07-9AE8-C61BD24F47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4A84EB4-277B-4B14-9434-662F666B2B2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2D4A9C3-2A22-4099-A755-D44118620B9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AF88AD17-67FE-4421-81DF-B5630CA128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1FE4F92-3BD0-42CE-87DE-F4F39963A3F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B915BF1-CC33-48EB-856F-8685951631D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5FF1E84-FC22-4E3A-9D5B-2B569BB83C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4">
            <a:extLst>
              <a:ext uri="{FF2B5EF4-FFF2-40B4-BE49-F238E27FC236}">
                <a16:creationId xmlns:a16="http://schemas.microsoft.com/office/drawing/2014/main" id="{446BADBC-7AE7-4AC0-B7B1-FE319EC0CF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7">
            <a:extLst>
              <a:ext uri="{FF2B5EF4-FFF2-40B4-BE49-F238E27FC236}">
                <a16:creationId xmlns:a16="http://schemas.microsoft.com/office/drawing/2014/main" id="{05A70AEF-370F-44FC-B5F2-E6060FF461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02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376" y="405000"/>
            <a:ext cx="11233248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1484712"/>
            <a:ext cx="11233248" cy="4896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376" y="6457875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al | T-Digital All Hands Call | May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7875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210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4" r:id="rId12"/>
    <p:sldLayoutId id="2147484015" r:id="rId13"/>
    <p:sldLayoutId id="2147484016" r:id="rId14"/>
    <p:sldLayoutId id="2147484017" r:id="rId15"/>
    <p:sldLayoutId id="2147484018" r:id="rId16"/>
    <p:sldLayoutId id="2147484019" r:id="rId17"/>
    <p:sldLayoutId id="2147484020" r:id="rId18"/>
    <p:sldLayoutId id="2147484021" r:id="rId19"/>
    <p:sldLayoutId id="2147484022" r:id="rId20"/>
    <p:sldLayoutId id="2147484023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50" cy="48970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9822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al | T-Digital All Hands Call | March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6ABAA016-7E93-4746-B97E-C5BEEEC441D1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4">
            <a:extLst>
              <a:ext uri="{FF2B5EF4-FFF2-40B4-BE49-F238E27FC236}">
                <a16:creationId xmlns:a16="http://schemas.microsoft.com/office/drawing/2014/main" id="{7552A32A-6F02-474B-9C7E-E0B4CC3582BC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4">
            <a:extLst>
              <a:ext uri="{FF2B5EF4-FFF2-40B4-BE49-F238E27FC236}">
                <a16:creationId xmlns:a16="http://schemas.microsoft.com/office/drawing/2014/main" id="{D0B16D45-53B5-4DBF-8E57-06CA9A86E703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78AA04B-918F-4D40-A391-BF3B18F58B43}"/>
              </a:ext>
            </a:extLst>
          </p:cNvPr>
          <p:cNvCxnSpPr>
            <a:cxnSpLocks/>
          </p:cNvCxnSpPr>
          <p:nvPr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BD96E97-9BA7-4E3E-A9C2-87882CE9B682}"/>
              </a:ext>
            </a:extLst>
          </p:cNvPr>
          <p:cNvCxnSpPr>
            <a:cxnSpLocks/>
          </p:cNvCxnSpPr>
          <p:nvPr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C3B3188-2DFB-4EAE-B916-8338F8959830}"/>
              </a:ext>
            </a:extLst>
          </p:cNvPr>
          <p:cNvCxnSpPr>
            <a:cxnSpLocks/>
          </p:cNvCxnSpPr>
          <p:nvPr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AF2FA0F-2910-4B07-9AE8-C61BD24F4753}"/>
              </a:ext>
            </a:extLst>
          </p:cNvPr>
          <p:cNvCxnSpPr>
            <a:cxnSpLocks/>
          </p:cNvCxnSpPr>
          <p:nvPr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4A84EB4-277B-4B14-9434-662F666B2B2E}"/>
              </a:ext>
            </a:extLst>
          </p:cNvPr>
          <p:cNvCxnSpPr>
            <a:cxnSpLocks/>
          </p:cNvCxnSpPr>
          <p:nvPr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2D4A9C3-2A22-4099-A755-D44118620B9F}"/>
              </a:ext>
            </a:extLst>
          </p:cNvPr>
          <p:cNvCxnSpPr>
            <a:cxnSpLocks/>
          </p:cNvCxnSpPr>
          <p:nvPr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AF88AD17-67FE-4421-81DF-B5630CA12896}"/>
              </a:ext>
            </a:extLst>
          </p:cNvPr>
          <p:cNvCxnSpPr>
            <a:cxnSpLocks/>
          </p:cNvCxnSpPr>
          <p:nvPr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1FE4F92-3BD0-42CE-87DE-F4F39963A3F6}"/>
              </a:ext>
            </a:extLst>
          </p:cNvPr>
          <p:cNvCxnSpPr>
            <a:cxnSpLocks/>
          </p:cNvCxnSpPr>
          <p:nvPr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B915BF1-CC33-48EB-856F-8685951631DB}"/>
              </a:ext>
            </a:extLst>
          </p:cNvPr>
          <p:cNvCxnSpPr>
            <a:cxnSpLocks/>
          </p:cNvCxnSpPr>
          <p:nvPr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5FF1E84-FC22-4E3A-9D5B-2B569BB83C53}"/>
              </a:ext>
            </a:extLst>
          </p:cNvPr>
          <p:cNvCxnSpPr>
            <a:cxnSpLocks/>
          </p:cNvCxnSpPr>
          <p:nvPr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4">
            <a:extLst>
              <a:ext uri="{FF2B5EF4-FFF2-40B4-BE49-F238E27FC236}">
                <a16:creationId xmlns:a16="http://schemas.microsoft.com/office/drawing/2014/main" id="{446BADBC-7AE7-4AC0-B7B1-FE319EC0CF76}"/>
              </a:ext>
            </a:extLst>
          </p:cNvPr>
          <p:cNvCxnSpPr>
            <a:cxnSpLocks/>
          </p:cNvCxnSpPr>
          <p:nvPr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7">
            <a:extLst>
              <a:ext uri="{FF2B5EF4-FFF2-40B4-BE49-F238E27FC236}">
                <a16:creationId xmlns:a16="http://schemas.microsoft.com/office/drawing/2014/main" id="{05A70AEF-370F-44FC-B5F2-E6060FF46101}"/>
              </a:ext>
            </a:extLst>
          </p:cNvPr>
          <p:cNvCxnSpPr>
            <a:cxnSpLocks/>
          </p:cNvCxnSpPr>
          <p:nvPr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4">
            <a:extLst>
              <a:ext uri="{FF2B5EF4-FFF2-40B4-BE49-F238E27FC236}">
                <a16:creationId xmlns:a16="http://schemas.microsoft.com/office/drawing/2014/main" id="{682CB131-14DE-5931-FF7C-C597B57206F3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4">
            <a:extLst>
              <a:ext uri="{FF2B5EF4-FFF2-40B4-BE49-F238E27FC236}">
                <a16:creationId xmlns:a16="http://schemas.microsoft.com/office/drawing/2014/main" id="{7CA70DBA-C7BB-54A1-2AE8-6E580EF645B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34">
            <a:extLst>
              <a:ext uri="{FF2B5EF4-FFF2-40B4-BE49-F238E27FC236}">
                <a16:creationId xmlns:a16="http://schemas.microsoft.com/office/drawing/2014/main" id="{D53145EE-F8E5-72E9-8D43-36F164EA5C8A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28">
            <a:extLst>
              <a:ext uri="{FF2B5EF4-FFF2-40B4-BE49-F238E27FC236}">
                <a16:creationId xmlns:a16="http://schemas.microsoft.com/office/drawing/2014/main" id="{49F7E0D7-5091-34A7-5B2E-5A5615FB49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29">
            <a:extLst>
              <a:ext uri="{FF2B5EF4-FFF2-40B4-BE49-F238E27FC236}">
                <a16:creationId xmlns:a16="http://schemas.microsoft.com/office/drawing/2014/main" id="{4A3146CE-6FA5-32AB-FFCE-2F3A7218FC5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30">
            <a:extLst>
              <a:ext uri="{FF2B5EF4-FFF2-40B4-BE49-F238E27FC236}">
                <a16:creationId xmlns:a16="http://schemas.microsoft.com/office/drawing/2014/main" id="{32FEAB8C-A698-D9E5-E932-0B371B82F3E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31">
            <a:extLst>
              <a:ext uri="{FF2B5EF4-FFF2-40B4-BE49-F238E27FC236}">
                <a16:creationId xmlns:a16="http://schemas.microsoft.com/office/drawing/2014/main" id="{0892B4ED-A5FF-2896-D15B-4D6DAA16A4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32">
            <a:extLst>
              <a:ext uri="{FF2B5EF4-FFF2-40B4-BE49-F238E27FC236}">
                <a16:creationId xmlns:a16="http://schemas.microsoft.com/office/drawing/2014/main" id="{5BEFDE2C-99D6-7AA4-A03B-FA2CC9C89A0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33">
            <a:extLst>
              <a:ext uri="{FF2B5EF4-FFF2-40B4-BE49-F238E27FC236}">
                <a16:creationId xmlns:a16="http://schemas.microsoft.com/office/drawing/2014/main" id="{736DB2E7-A698-9AB7-FB34-9DDB1AAFCBB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34">
            <a:extLst>
              <a:ext uri="{FF2B5EF4-FFF2-40B4-BE49-F238E27FC236}">
                <a16:creationId xmlns:a16="http://schemas.microsoft.com/office/drawing/2014/main" id="{4A2F805C-4191-4C08-52F3-7323B6459BB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35">
            <a:extLst>
              <a:ext uri="{FF2B5EF4-FFF2-40B4-BE49-F238E27FC236}">
                <a16:creationId xmlns:a16="http://schemas.microsoft.com/office/drawing/2014/main" id="{0B7806FF-7A55-6587-0E51-FD745465D3F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36">
            <a:extLst>
              <a:ext uri="{FF2B5EF4-FFF2-40B4-BE49-F238E27FC236}">
                <a16:creationId xmlns:a16="http://schemas.microsoft.com/office/drawing/2014/main" id="{9E60BCA0-A430-41F8-EF7E-B1B72374FE6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7">
            <a:extLst>
              <a:ext uri="{FF2B5EF4-FFF2-40B4-BE49-F238E27FC236}">
                <a16:creationId xmlns:a16="http://schemas.microsoft.com/office/drawing/2014/main" id="{766B00CA-D6CA-33E7-5D0E-741440B00E6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4">
            <a:extLst>
              <a:ext uri="{FF2B5EF4-FFF2-40B4-BE49-F238E27FC236}">
                <a16:creationId xmlns:a16="http://schemas.microsoft.com/office/drawing/2014/main" id="{2A5BFBAA-DC7B-9FA0-041C-3FBC7A124A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37">
            <a:extLst>
              <a:ext uri="{FF2B5EF4-FFF2-40B4-BE49-F238E27FC236}">
                <a16:creationId xmlns:a16="http://schemas.microsoft.com/office/drawing/2014/main" id="{5871B199-5FCB-9BA1-7FBA-E6C0A548471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35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  <p:sldLayoutId id="2147484095" r:id="rId12"/>
    <p:sldLayoutId id="2147484096" r:id="rId13"/>
    <p:sldLayoutId id="2147484097" r:id="rId14"/>
    <p:sldLayoutId id="2147484098" r:id="rId15"/>
    <p:sldLayoutId id="2147484099" r:id="rId16"/>
    <p:sldLayoutId id="2147484100" r:id="rId17"/>
    <p:sldLayoutId id="2147484101" r:id="rId18"/>
    <p:sldLayoutId id="2147484102" r:id="rId19"/>
    <p:sldLayoutId id="2147484103" r:id="rId20"/>
    <p:sldLayoutId id="2147484104" r:id="rId21"/>
    <p:sldLayoutId id="2147484105" r:id="rId22"/>
    <p:sldLayoutId id="2147484106" r:id="rId2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26EAECC-8D5A-4A83-8F02-3BE289CFF9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3987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532" imgH="530" progId="TCLayout.ActiveDocument.1">
                  <p:embed/>
                </p:oleObj>
              </mc:Choice>
              <mc:Fallback>
                <p:oleObj name="think-cell Folie" r:id="rId24" imgW="532" imgH="53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26EAECC-8D5A-4A83-8F02-3BE289CFF9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6" y="405000"/>
            <a:ext cx="11233148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49" cy="49009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6" y="6459822"/>
            <a:ext cx="8353424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34">
            <a:extLst>
              <a:ext uri="{FF2B5EF4-FFF2-40B4-BE49-F238E27FC236}">
                <a16:creationId xmlns:a16="http://schemas.microsoft.com/office/drawing/2014/main" id="{3E547ADE-6771-456D-82E8-F57C2826B78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37">
            <a:extLst>
              <a:ext uri="{FF2B5EF4-FFF2-40B4-BE49-F238E27FC236}">
                <a16:creationId xmlns:a16="http://schemas.microsoft.com/office/drawing/2014/main" id="{DCC7920C-994B-41DD-857A-19306EFAA3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4">
            <a:extLst>
              <a:ext uri="{FF2B5EF4-FFF2-40B4-BE49-F238E27FC236}">
                <a16:creationId xmlns:a16="http://schemas.microsoft.com/office/drawing/2014/main" id="{18312434-AE29-41EE-AEFD-FD4F7A0559C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88B4E561-CB41-4A84-BCFB-ADAA779B29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F2FC83C1-4F80-4C57-B643-D3C3661BF512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8619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  <p:sldLayoutId id="2147484391" r:id="rId10"/>
    <p:sldLayoutId id="2147484392" r:id="rId11"/>
    <p:sldLayoutId id="2147484393" r:id="rId12"/>
    <p:sldLayoutId id="2147484394" r:id="rId13"/>
    <p:sldLayoutId id="2147484395" r:id="rId14"/>
    <p:sldLayoutId id="2147484396" r:id="rId15"/>
    <p:sldLayoutId id="2147484397" r:id="rId16"/>
    <p:sldLayoutId id="2147484398" r:id="rId17"/>
    <p:sldLayoutId id="2147484399" r:id="rId18"/>
    <p:sldLayoutId id="2147484400" r:id="rId19"/>
    <p:sldLayoutId id="2147484401" r:id="rId20"/>
    <p:sldLayoutId id="2147484402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99" cy="4896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7664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766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Gerader Verbinder 34">
            <a:extLst>
              <a:ext uri="{FF2B5EF4-FFF2-40B4-BE49-F238E27FC236}">
                <a16:creationId xmlns:a16="http://schemas.microsoft.com/office/drawing/2014/main" id="{89012FEA-181D-4C9D-8A65-9AEFE1BC2F14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4">
            <a:extLst>
              <a:ext uri="{FF2B5EF4-FFF2-40B4-BE49-F238E27FC236}">
                <a16:creationId xmlns:a16="http://schemas.microsoft.com/office/drawing/2014/main" id="{0BD1867E-60C6-4F22-919E-9943D2CCA2B5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4">
            <a:extLst>
              <a:ext uri="{FF2B5EF4-FFF2-40B4-BE49-F238E27FC236}">
                <a16:creationId xmlns:a16="http://schemas.microsoft.com/office/drawing/2014/main" id="{E332571D-E824-46A7-BFCF-5DB25A0447BB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8">
            <a:extLst>
              <a:ext uri="{FF2B5EF4-FFF2-40B4-BE49-F238E27FC236}">
                <a16:creationId xmlns:a16="http://schemas.microsoft.com/office/drawing/2014/main" id="{F5984FF4-F96E-4979-BA1B-63CD5473D55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9">
            <a:extLst>
              <a:ext uri="{FF2B5EF4-FFF2-40B4-BE49-F238E27FC236}">
                <a16:creationId xmlns:a16="http://schemas.microsoft.com/office/drawing/2014/main" id="{922CA33F-150A-427F-9779-E59E62D799F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0">
            <a:extLst>
              <a:ext uri="{FF2B5EF4-FFF2-40B4-BE49-F238E27FC236}">
                <a16:creationId xmlns:a16="http://schemas.microsoft.com/office/drawing/2014/main" id="{349907C3-6C09-46F9-B069-0F9AE8CD97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1">
            <a:extLst>
              <a:ext uri="{FF2B5EF4-FFF2-40B4-BE49-F238E27FC236}">
                <a16:creationId xmlns:a16="http://schemas.microsoft.com/office/drawing/2014/main" id="{3D323137-6269-4E4B-9729-792BB8633FA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2">
            <a:extLst>
              <a:ext uri="{FF2B5EF4-FFF2-40B4-BE49-F238E27FC236}">
                <a16:creationId xmlns:a16="http://schemas.microsoft.com/office/drawing/2014/main" id="{C2C779C4-6C20-4B5F-A0A8-B52F4B765B8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33">
            <a:extLst>
              <a:ext uri="{FF2B5EF4-FFF2-40B4-BE49-F238E27FC236}">
                <a16:creationId xmlns:a16="http://schemas.microsoft.com/office/drawing/2014/main" id="{D615CF61-FA43-4282-9D31-6E1682909B9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34">
            <a:extLst>
              <a:ext uri="{FF2B5EF4-FFF2-40B4-BE49-F238E27FC236}">
                <a16:creationId xmlns:a16="http://schemas.microsoft.com/office/drawing/2014/main" id="{19F59382-5CDC-4127-B7AF-EFE6C64CA88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35">
            <a:extLst>
              <a:ext uri="{FF2B5EF4-FFF2-40B4-BE49-F238E27FC236}">
                <a16:creationId xmlns:a16="http://schemas.microsoft.com/office/drawing/2014/main" id="{93739C8E-A91E-4DF6-8B71-C95EA29C546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6">
            <a:extLst>
              <a:ext uri="{FF2B5EF4-FFF2-40B4-BE49-F238E27FC236}">
                <a16:creationId xmlns:a16="http://schemas.microsoft.com/office/drawing/2014/main" id="{7DD298F8-8C16-4A64-8645-6DCB0D7F035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7">
            <a:extLst>
              <a:ext uri="{FF2B5EF4-FFF2-40B4-BE49-F238E27FC236}">
                <a16:creationId xmlns:a16="http://schemas.microsoft.com/office/drawing/2014/main" id="{D09D5B22-B226-42FD-A395-C5727188BBD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02F409E6-7F30-4ED2-8368-F02084442AF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7">
            <a:extLst>
              <a:ext uri="{FF2B5EF4-FFF2-40B4-BE49-F238E27FC236}">
                <a16:creationId xmlns:a16="http://schemas.microsoft.com/office/drawing/2014/main" id="{FA7E9854-B87E-4C7F-A30D-B8458DEC0DF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88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  <p:sldLayoutId id="2147484428" r:id="rId13"/>
    <p:sldLayoutId id="2147484429" r:id="rId14"/>
    <p:sldLayoutId id="2147484430" r:id="rId15"/>
    <p:sldLayoutId id="2147484431" r:id="rId16"/>
    <p:sldLayoutId id="2147484432" r:id="rId17"/>
    <p:sldLayoutId id="2147484433" r:id="rId18"/>
    <p:sldLayoutId id="2147484434" r:id="rId19"/>
    <p:sldLayoutId id="2147484435" r:id="rId20"/>
    <p:sldLayoutId id="2147484436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lab.antlr.org/" TargetMode="External"/><Relationship Id="rId2" Type="http://schemas.openxmlformats.org/officeDocument/2006/relationships/hyperlink" Target="https://www.antlr.org/" TargetMode="External"/><Relationship Id="rId1" Type="http://schemas.openxmlformats.org/officeDocument/2006/relationships/slideLayout" Target="../slideLayouts/slideLayout32.xml"/><Relationship Id="rId4" Type="http://schemas.openxmlformats.org/officeDocument/2006/relationships/hyperlink" Target="https://www.antlr.org/api/maven-plugin/latest/examples/simple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4" Type="http://schemas.openxmlformats.org/officeDocument/2006/relationships/hyperlink" Target="https://github.com/antlr/grammars-v4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microsoft.github.io/language-server-protocol/" TargetMode="Externa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visualstudio.com/api/get-started/your-first-extension" TargetMode="Externa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0.xml"/><Relationship Id="rId4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B8072-B0B2-4D89-8DA7-F963EEA1D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Binary code on screen">
            <a:extLst>
              <a:ext uri="{FF2B5EF4-FFF2-40B4-BE49-F238E27FC236}">
                <a16:creationId xmlns:a16="http://schemas.microsoft.com/office/drawing/2014/main" id="{52BE09C3-856B-72D7-0006-4C5A0936BA6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1380" r="21380"/>
          <a:stretch/>
        </p:blipFill>
        <p:spPr>
          <a:xfrm>
            <a:off x="20" y="2"/>
            <a:ext cx="6979030" cy="6857999"/>
          </a:xfrm>
          <a:noFill/>
        </p:spPr>
      </p:pic>
      <p:sp>
        <p:nvSpPr>
          <p:cNvPr id="17411" name="Titel 1">
            <a:extLst>
              <a:ext uri="{FF2B5EF4-FFF2-40B4-BE49-F238E27FC236}">
                <a16:creationId xmlns:a16="http://schemas.microsoft.com/office/drawing/2014/main" id="{DB938EC0-187D-BC0A-D810-93735521454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119848" y="2314937"/>
            <a:ext cx="7072132" cy="2481202"/>
          </a:xfrm>
        </p:spPr>
        <p:txBody>
          <a:bodyPr wrap="square" anchor="b">
            <a:normAutofit fontScale="90000"/>
          </a:bodyPr>
          <a:lstStyle/>
          <a:p>
            <a:r>
              <a:rPr lang="en-US" altLang="de-DE" sz="6000" dirty="0"/>
              <a:t>How to build</a:t>
            </a:r>
            <a:br>
              <a:rPr lang="en-US" altLang="de-DE" sz="6000" dirty="0"/>
            </a:br>
            <a:r>
              <a:rPr lang="en-US" altLang="de-DE" sz="6000" dirty="0"/>
              <a:t>Syntax Checker Extension for VS Code</a:t>
            </a:r>
          </a:p>
        </p:txBody>
      </p:sp>
    </p:spTree>
    <p:extLst>
      <p:ext uri="{BB962C8B-B14F-4D97-AF65-F5344CB8AC3E}">
        <p14:creationId xmlns:p14="http://schemas.microsoft.com/office/powerpoint/2010/main" val="807987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5CA985-218E-76EF-3A9A-8C71C9077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decomposi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1552D4-E521-CCF0-B968-AF6E92C84E41}"/>
              </a:ext>
            </a:extLst>
          </p:cNvPr>
          <p:cNvSpPr txBox="1"/>
          <p:nvPr/>
        </p:nvSpPr>
        <p:spPr>
          <a:xfrm>
            <a:off x="972273" y="2118165"/>
            <a:ext cx="10417216" cy="36344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R" sz="4000" dirty="0"/>
              <a:t>Check syntax</a:t>
            </a:r>
          </a:p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R" sz="4000" dirty="0"/>
              <a:t>Create extension</a:t>
            </a:r>
          </a:p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R" sz="4000" dirty="0"/>
              <a:t>Provide text to syntax checker and show the results</a:t>
            </a:r>
          </a:p>
        </p:txBody>
      </p:sp>
    </p:spTree>
    <p:extLst>
      <p:ext uri="{BB962C8B-B14F-4D97-AF65-F5344CB8AC3E}">
        <p14:creationId xmlns:p14="http://schemas.microsoft.com/office/powerpoint/2010/main" val="2459037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49F14-2AB4-BF65-8F60-110FF4BEF0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48675B-34AD-D1DC-AF54-67376F1A0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synta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04DD2D-11DB-F46D-85C7-73DC061167E8}"/>
              </a:ext>
            </a:extLst>
          </p:cNvPr>
          <p:cNvSpPr txBox="1"/>
          <p:nvPr/>
        </p:nvSpPr>
        <p:spPr>
          <a:xfrm>
            <a:off x="3558828" y="1851176"/>
            <a:ext cx="5764193" cy="27316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4000" dirty="0"/>
              <a:t>Context-free grammars</a:t>
            </a:r>
          </a:p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4000" dirty="0" err="1"/>
              <a:t>Lexers</a:t>
            </a:r>
            <a:r>
              <a:rPr lang="en-GB" sz="4000" dirty="0"/>
              <a:t> and parsers</a:t>
            </a:r>
          </a:p>
          <a:p>
            <a:pPr marL="285750" indent="-285750" algn="l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4000" dirty="0"/>
              <a:t>ANTLR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A2ECED-D854-A0C3-E222-CADBC0539805}"/>
              </a:ext>
            </a:extLst>
          </p:cNvPr>
          <p:cNvSpPr txBox="1"/>
          <p:nvPr/>
        </p:nvSpPr>
        <p:spPr>
          <a:xfrm>
            <a:off x="775504" y="54748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B" dirty="0">
                <a:hlinkClick r:id="rId2"/>
              </a:rPr>
              <a:t>https://www.antlr.org/</a:t>
            </a:r>
            <a:endParaRPr lang="en-GB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10AD72-6D55-5D77-60F0-9BCE461F54E1}"/>
              </a:ext>
            </a:extLst>
          </p:cNvPr>
          <p:cNvSpPr txBox="1"/>
          <p:nvPr/>
        </p:nvSpPr>
        <p:spPr>
          <a:xfrm>
            <a:off x="1469984" y="5914662"/>
            <a:ext cx="2210764" cy="4282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B" dirty="0">
                <a:hlinkClick r:id="rId3"/>
              </a:rPr>
              <a:t>http://lab.antlr.org/</a:t>
            </a:r>
            <a:endParaRPr lang="en-GB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A29BE5-69BE-EE3B-9CC6-B22DBFDD551B}"/>
              </a:ext>
            </a:extLst>
          </p:cNvPr>
          <p:cNvSpPr txBox="1"/>
          <p:nvPr/>
        </p:nvSpPr>
        <p:spPr>
          <a:xfrm>
            <a:off x="5131447" y="5914662"/>
            <a:ext cx="67596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R" dirty="0">
                <a:hlinkClick r:id="rId4"/>
              </a:rPr>
              <a:t>https://www.antlr.org/api/maven</a:t>
            </a:r>
            <a:r>
              <a:rPr lang="en-GR" dirty="0">
                <a:hlinkClick r:id="rId4"/>
              </a:rPr>
              <a:t>-</a:t>
            </a:r>
            <a:r>
              <a:rPr lang="en-GR" dirty="0">
                <a:hlinkClick r:id="rId4"/>
              </a:rPr>
              <a:t>plugin/latest/examples/simple.html</a:t>
            </a:r>
            <a:endParaRPr lang="en-GR" dirty="0"/>
          </a:p>
          <a:p>
            <a:endParaRPr lang="en-GR" dirty="0"/>
          </a:p>
        </p:txBody>
      </p:sp>
    </p:spTree>
    <p:extLst>
      <p:ext uri="{BB962C8B-B14F-4D97-AF65-F5344CB8AC3E}">
        <p14:creationId xmlns:p14="http://schemas.microsoft.com/office/powerpoint/2010/main" val="16519024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84D8FF-A465-BC55-8F2E-767420D90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03235B-F9DD-E8B9-B78B-CBF291FA1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 gramma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37C8F2-9FFC-1154-D032-29614AFD17C3}"/>
              </a:ext>
            </a:extLst>
          </p:cNvPr>
          <p:cNvSpPr txBox="1"/>
          <p:nvPr/>
        </p:nvSpPr>
        <p:spPr>
          <a:xfrm>
            <a:off x="1203767" y="1545647"/>
            <a:ext cx="9317620" cy="4282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chemeClr val="tx2"/>
              </a:buClr>
              <a:buSzPct val="100000"/>
            </a:pPr>
            <a:r>
              <a:rPr lang="en-GB" sz="2800" dirty="0"/>
              <a:t>Thoughts about the programming language with embedded SQL</a:t>
            </a:r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sz="2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7684A3-3671-8CD7-3440-00AC15090252}"/>
              </a:ext>
            </a:extLst>
          </p:cNvPr>
          <p:cNvSpPr txBox="1"/>
          <p:nvPr/>
        </p:nvSpPr>
        <p:spPr>
          <a:xfrm>
            <a:off x="3044142" y="35071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4CF2F1-7264-3046-098E-5749DE3F1982}"/>
              </a:ext>
            </a:extLst>
          </p:cNvPr>
          <p:cNvSpPr txBox="1"/>
          <p:nvPr/>
        </p:nvSpPr>
        <p:spPr>
          <a:xfrm>
            <a:off x="1203767" y="3533815"/>
            <a:ext cx="5359078" cy="2318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fun </a:t>
            </a:r>
            <a:r>
              <a:rPr lang="en-GB" sz="2400" dirty="0" err="1">
                <a:latin typeface="Consolas" panose="020B0609020204030204" pitchFamily="49" charset="0"/>
                <a:cs typeface="Consolas" panose="020B0609020204030204" pitchFamily="49" charset="0"/>
              </a:rPr>
              <a:t>getUserName</a:t>
            </a: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(id) {</a:t>
            </a:r>
          </a:p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    from users {</a:t>
            </a:r>
          </a:p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        select name, surname</a:t>
            </a:r>
          </a:p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        where </a:t>
            </a:r>
            <a:r>
              <a:rPr lang="en-GB" sz="2400" dirty="0" err="1">
                <a:latin typeface="Consolas" panose="020B0609020204030204" pitchFamily="49" charset="0"/>
                <a:cs typeface="Consolas" panose="020B0609020204030204" pitchFamily="49" charset="0"/>
              </a:rPr>
              <a:t>user_id</a:t>
            </a: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 = id</a:t>
            </a:r>
          </a:p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algn="l">
              <a:buClr>
                <a:schemeClr val="tx2"/>
              </a:buClr>
              <a:buSzPct val="100000"/>
            </a:pPr>
            <a:r>
              <a:rPr lang="en-GB" sz="240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pPr algn="l">
              <a:buClr>
                <a:schemeClr val="tx2"/>
              </a:buClr>
              <a:buSzPct val="100000"/>
            </a:pPr>
            <a:endParaRPr lang="en-GR" sz="2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8" name="Graphic 7" descr="Thought bubble outline">
            <a:extLst>
              <a:ext uri="{FF2B5EF4-FFF2-40B4-BE49-F238E27FC236}">
                <a16:creationId xmlns:a16="http://schemas.microsoft.com/office/drawing/2014/main" id="{00383BB6-ADD4-A6C0-C543-61BBE26BE6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7387" y="2394558"/>
            <a:ext cx="1990846" cy="19908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E9DEE67-4260-C3DC-D8EA-18B7847F6DBB}"/>
              </a:ext>
            </a:extLst>
          </p:cNvPr>
          <p:cNvSpPr txBox="1"/>
          <p:nvPr/>
        </p:nvSpPr>
        <p:spPr>
          <a:xfrm>
            <a:off x="1219200" y="62666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B" dirty="0">
                <a:hlinkClick r:id="rId4"/>
              </a:rPr>
              <a:t>https://github.com/antlr/grammars-v4</a:t>
            </a:r>
            <a:endParaRPr lang="en-GB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</p:spTree>
    <p:extLst>
      <p:ext uri="{BB962C8B-B14F-4D97-AF65-F5344CB8AC3E}">
        <p14:creationId xmlns:p14="http://schemas.microsoft.com/office/powerpoint/2010/main" val="3045973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B4B94C-CCE1-0781-80B2-0DF3748E5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34F419-ED76-E4EC-4DF2-72F7A1894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guage Server Protoco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802A13-5A85-69C1-533E-1343B85A2C15}"/>
              </a:ext>
            </a:extLst>
          </p:cNvPr>
          <p:cNvSpPr txBox="1"/>
          <p:nvPr/>
        </p:nvSpPr>
        <p:spPr>
          <a:xfrm>
            <a:off x="2152891" y="1255155"/>
            <a:ext cx="9317620" cy="4282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chemeClr val="tx2"/>
              </a:buClr>
              <a:buSzPct val="100000"/>
            </a:pPr>
            <a:r>
              <a:rPr lang="en-GB" sz="2800" dirty="0"/>
              <a:t>Reuse language features in different developer too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84E3C-9D40-09C1-B27C-4101CAB5B760}"/>
              </a:ext>
            </a:extLst>
          </p:cNvPr>
          <p:cNvSpPr txBox="1"/>
          <p:nvPr/>
        </p:nvSpPr>
        <p:spPr>
          <a:xfrm>
            <a:off x="3044142" y="35071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D21358-5FE1-B12E-B3BC-8F96DAC7B970}"/>
              </a:ext>
            </a:extLst>
          </p:cNvPr>
          <p:cNvSpPr txBox="1"/>
          <p:nvPr/>
        </p:nvSpPr>
        <p:spPr>
          <a:xfrm>
            <a:off x="479425" y="6291931"/>
            <a:ext cx="62040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R" dirty="0">
                <a:hlinkClick r:id="rId2"/>
              </a:rPr>
              <a:t>https://microsoft.github.io/language-server-protocol/</a:t>
            </a:r>
            <a:endParaRPr lang="en-GR" dirty="0"/>
          </a:p>
        </p:txBody>
      </p:sp>
      <p:pic>
        <p:nvPicPr>
          <p:cNvPr id="1026" name="Picture 2" descr="language server protocol">
            <a:extLst>
              <a:ext uri="{FF2B5EF4-FFF2-40B4-BE49-F238E27FC236}">
                <a16:creationId xmlns:a16="http://schemas.microsoft.com/office/drawing/2014/main" id="{D6DC5422-5EC9-79FC-81E6-FC5D93F35B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891" y="1683419"/>
            <a:ext cx="8742342" cy="4401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8159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F9F6C-C4A8-7DFB-1745-420022E89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88073-2B99-06ED-6629-396395E59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 Code exten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B0B55E-DEDD-07FA-7BA4-C2D9C1B59A61}"/>
              </a:ext>
            </a:extLst>
          </p:cNvPr>
          <p:cNvSpPr txBox="1"/>
          <p:nvPr/>
        </p:nvSpPr>
        <p:spPr>
          <a:xfrm>
            <a:off x="3044142" y="35071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G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809E9A-C8E0-4A5A-B148-2ACEC5CC183D}"/>
              </a:ext>
            </a:extLst>
          </p:cNvPr>
          <p:cNvSpPr txBox="1"/>
          <p:nvPr/>
        </p:nvSpPr>
        <p:spPr>
          <a:xfrm>
            <a:off x="479425" y="6285166"/>
            <a:ext cx="6134583" cy="3356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en-GB" dirty="0">
                <a:hlinkClick r:id="rId2"/>
              </a:rPr>
              <a:t>https://code.visualstudio.com/api/get-started/your-first-extension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C74ED4-D77D-BF2A-2D51-9636CE9D84F4}"/>
              </a:ext>
            </a:extLst>
          </p:cNvPr>
          <p:cNvSpPr txBox="1"/>
          <p:nvPr/>
        </p:nvSpPr>
        <p:spPr>
          <a:xfrm>
            <a:off x="1732343" y="2130926"/>
            <a:ext cx="7523545" cy="31483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lnSpc>
                <a:spcPct val="150000"/>
              </a:lnSpc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R" sz="3600" dirty="0"/>
              <a:t>Create an extension</a:t>
            </a:r>
          </a:p>
          <a:p>
            <a:pPr marL="144000" indent="-144000" algn="l">
              <a:lnSpc>
                <a:spcPct val="150000"/>
              </a:lnSpc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R" sz="3600" dirty="0"/>
              <a:t>Register the language id and file extension</a:t>
            </a:r>
          </a:p>
          <a:p>
            <a:pPr marL="144000" indent="-144000" algn="l">
              <a:lnSpc>
                <a:spcPct val="150000"/>
              </a:lnSpc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GR" sz="3600" dirty="0"/>
              <a:t>Connect with language server</a:t>
            </a:r>
          </a:p>
        </p:txBody>
      </p:sp>
    </p:spTree>
    <p:extLst>
      <p:ext uri="{BB962C8B-B14F-4D97-AF65-F5344CB8AC3E}">
        <p14:creationId xmlns:p14="http://schemas.microsoft.com/office/powerpoint/2010/main" val="3107346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Leiden from the sky at night night">
            <a:extLst>
              <a:ext uri="{FF2B5EF4-FFF2-40B4-BE49-F238E27FC236}">
                <a16:creationId xmlns:a16="http://schemas.microsoft.com/office/drawing/2014/main" id="{5316C3C1-6522-0F67-0B94-27BA2DF1ED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67" b="9109"/>
          <a:stretch/>
        </p:blipFill>
        <p:spPr>
          <a:xfrm>
            <a:off x="-138896" y="0"/>
            <a:ext cx="12330896" cy="6858000"/>
          </a:xfrm>
          <a:prstGeom prst="rect">
            <a:avLst/>
          </a:prstGeom>
        </p:spPr>
      </p:pic>
      <p:sp>
        <p:nvSpPr>
          <p:cNvPr id="5" name="Freeform 5"/>
          <p:cNvSpPr/>
          <p:nvPr/>
        </p:nvSpPr>
        <p:spPr>
          <a:xfrm>
            <a:off x="11234050" y="6003328"/>
            <a:ext cx="544302" cy="648000"/>
          </a:xfrm>
          <a:custGeom>
            <a:avLst/>
            <a:gdLst/>
            <a:ahLst/>
            <a:cxnLst/>
            <a:rect l="l" t="t" r="r" b="b"/>
            <a:pathLst>
              <a:path w="816453" h="972000">
                <a:moveTo>
                  <a:pt x="0" y="0"/>
                </a:moveTo>
                <a:lnTo>
                  <a:pt x="816452" y="0"/>
                </a:lnTo>
                <a:lnTo>
                  <a:pt x="816452" y="972000"/>
                </a:lnTo>
                <a:lnTo>
                  <a:pt x="0" y="972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36705" y="416460"/>
            <a:ext cx="5334503" cy="14162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3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Thank you!</a:t>
            </a:r>
          </a:p>
          <a:p>
            <a:pPr marL="0" marR="0" lvl="0" indent="0" algn="l" defTabSz="914400" rtl="0" eaLnBrk="1" fontAlgn="auto" latinLnBrk="0" hangingPunct="1">
              <a:lnSpc>
                <a:spcPts val="53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449735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" id="{1E8D6656-56A6-B14F-B22E-E120736002F8}" vid="{46CB1FCB-4FF2-0B4B-A151-302849047053}"/>
    </a:ext>
  </a:extLst>
</a:theme>
</file>

<file path=ppt/theme/theme2.xml><?xml version="1.0" encoding="utf-8"?>
<a:theme xmlns:a="http://schemas.openxmlformats.org/drawingml/2006/main" name="Telekom – Circ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Circle_Shape_022122_EN_V01.potx" id="{7614D208-0BD2-4F9A-A6E1-E51D558FC2E5}" vid="{5A5AAD53-C97A-4312-9B46-0613DDA46657}"/>
    </a:ext>
  </a:extLst>
</a:theme>
</file>

<file path=ppt/theme/theme3.xml><?xml version="1.0" encoding="utf-8"?>
<a:theme xmlns:a="http://schemas.openxmlformats.org/drawingml/2006/main" name="2_Telekom – Circ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Circle_Shape_022122_EN_V01.potx" id="{7614D208-0BD2-4F9A-A6E1-E51D558FC2E5}" vid="{5A5AAD53-C97A-4312-9B46-0613DDA46657}"/>
    </a:ext>
  </a:extLst>
</a:theme>
</file>

<file path=ppt/theme/theme4.xml><?xml version="1.0" encoding="utf-8"?>
<a:theme xmlns:a="http://schemas.openxmlformats.org/drawingml/2006/main" name="2_Telekom – Ang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Angle_Shape_022122_EN_V01.potx" id="{758958CC-6C45-464E-94CA-E3E0633D8F58}" vid="{05C7C691-6579-46D5-99FC-59949A7560B6}"/>
    </a:ext>
  </a:extLst>
</a:theme>
</file>

<file path=ppt/theme/theme5.xml><?xml version="1.0" encoding="utf-8"?>
<a:theme xmlns:a="http://schemas.openxmlformats.org/drawingml/2006/main" name="1_Telekom – Puzz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Puzzle_Shape_022122_EN_V01.potx" id="{3D04C73A-4A37-4630-85F9-FFBB53A96562}" vid="{A3C312A6-BE62-4B18-B154-C4C85E7EF779}"/>
    </a:ext>
  </a:extLst>
</a:theme>
</file>

<file path=ppt/theme/theme6.xml><?xml version="1.0" encoding="utf-8"?>
<a:theme xmlns:a="http://schemas.openxmlformats.org/drawingml/2006/main" name="2_Telekom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" id="{1E8D6656-56A6-B14F-B22E-E120736002F8}" vid="{46CB1FCB-4FF2-0B4B-A151-302849047053}"/>
    </a:ext>
  </a:extLst>
</a:theme>
</file>

<file path=ppt/theme/theme7.xml><?xml version="1.0" encoding="utf-8"?>
<a:theme xmlns:a="http://schemas.openxmlformats.org/drawingml/2006/main" name="Deutsche Telekom – Ang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Angle_Shape_022022_DE_V03a.potx" id="{9A8A9945-2CF8-4BB3-993F-9694BA2085F3}" vid="{23004172-17F1-4167-BC1A-8AD72F942061}"/>
    </a:ext>
  </a:extLst>
</a:theme>
</file>

<file path=ppt/theme/theme8.xml><?xml version="1.0" encoding="utf-8"?>
<a:theme xmlns:a="http://schemas.openxmlformats.org/drawingml/2006/main" name="1_Telekom – Circ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Circle_Shape_022122_EN_V01.potx" id="{7614D208-0BD2-4F9A-A6E1-E51D558FC2E5}" vid="{5A5AAD53-C97A-4312-9B46-0613DDA46657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D677FB687E6C43B0DBDE6FA5448BDB" ma:contentTypeVersion="12" ma:contentTypeDescription="Create a new document." ma:contentTypeScope="" ma:versionID="874155aed062ba94b7f9279af1d37908">
  <xsd:schema xmlns:xsd="http://www.w3.org/2001/XMLSchema" xmlns:xs="http://www.w3.org/2001/XMLSchema" xmlns:p="http://schemas.microsoft.com/office/2006/metadata/properties" xmlns:ns2="e1602d20-a0da-4a0b-b270-3b75d27fa118" xmlns:ns3="79e41193-e5f4-4b25-95f0-b45853fb9da4" targetNamespace="http://schemas.microsoft.com/office/2006/metadata/properties" ma:root="true" ma:fieldsID="134284c33ab05651f11ce84c61a60b21" ns2:_="" ns3:_="">
    <xsd:import namespace="e1602d20-a0da-4a0b-b270-3b75d27fa118"/>
    <xsd:import namespace="79e41193-e5f4-4b25-95f0-b45853fb9da4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Ev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602d20-a0da-4a0b-b270-3b75d27fa11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Event" ma:index="19" nillable="true" ma:displayName="Event" ma:format="Dropdown" ma:internalName="Event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e41193-e5f4-4b25-95f0-b45853fb9da4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d4416e9-a210-4f43-9a90-7098b75c54c9}" ma:internalName="TaxCatchAll" ma:showField="CatchAllData" ma:web="79e41193-e5f4-4b25-95f0-b45853fb9d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602d20-a0da-4a0b-b270-3b75d27fa118">
      <Terms xmlns="http://schemas.microsoft.com/office/infopath/2007/PartnerControls"/>
    </lcf76f155ced4ddcb4097134ff3c332f>
    <TaxCatchAll xmlns="79e41193-e5f4-4b25-95f0-b45853fb9da4" xsi:nil="true"/>
    <Event xmlns="e1602d20-a0da-4a0b-b270-3b75d27fa118" xsi:nil="true"/>
  </documentManagement>
</p:properties>
</file>

<file path=customXml/itemProps1.xml><?xml version="1.0" encoding="utf-8"?>
<ds:datastoreItem xmlns:ds="http://schemas.openxmlformats.org/officeDocument/2006/customXml" ds:itemID="{91CA0E31-7254-4772-B0EA-515C7AC447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511F68-F5A8-4971-BF2E-E8E765186F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602d20-a0da-4a0b-b270-3b75d27fa118"/>
    <ds:schemaRef ds:uri="79e41193-e5f4-4b25-95f0-b45853fb9d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E1E7EB8-3FED-44F5-8525-37ABCCA33AE7}">
  <ds:schemaRefs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elements/1.1/"/>
    <ds:schemaRef ds:uri="e1602d20-a0da-4a0b-b270-3b75d27fa118"/>
    <ds:schemaRef ds:uri="http://www.w3.org/XML/1998/namespace"/>
    <ds:schemaRef ds:uri="http://purl.org/dc/dcmitype/"/>
    <ds:schemaRef ds:uri="http://purl.org/dc/terms/"/>
    <ds:schemaRef ds:uri="79e41193-e5f4-4b25-95f0-b45853fb9da4"/>
  </ds:schemaRefs>
</ds:datastoreItem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lekom</Template>
  <TotalTime>235</TotalTime>
  <Words>169</Words>
  <Application>Microsoft Macintosh PowerPoint</Application>
  <PresentationFormat>Widescreen</PresentationFormat>
  <Paragraphs>32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Calibri</vt:lpstr>
      <vt:lpstr>Consolas</vt:lpstr>
      <vt:lpstr>TeleNeo Office</vt:lpstr>
      <vt:lpstr>TeleNeo Office ExtraBold</vt:lpstr>
      <vt:lpstr>Telekom</vt:lpstr>
      <vt:lpstr>Telekom – Circle</vt:lpstr>
      <vt:lpstr>2_Telekom – Circle</vt:lpstr>
      <vt:lpstr>2_Telekom – Angle</vt:lpstr>
      <vt:lpstr>1_Telekom – Puzzle</vt:lpstr>
      <vt:lpstr>2_Telekom</vt:lpstr>
      <vt:lpstr>Deutsche Telekom – Angle</vt:lpstr>
      <vt:lpstr>1_Telekom – Circle</vt:lpstr>
      <vt:lpstr>think-cell Folie</vt:lpstr>
      <vt:lpstr>How to build Syntax Checker Extension for VS Code</vt:lpstr>
      <vt:lpstr>Task decomposition</vt:lpstr>
      <vt:lpstr>Check syntax</vt:lpstr>
      <vt:lpstr>Fun grammar</vt:lpstr>
      <vt:lpstr>Language Server Protocol</vt:lpstr>
      <vt:lpstr>VS Code exten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 ISO Audit 2023 Awareness</dc:title>
  <dc:creator>Kovalevskaia, Anastasiia</dc:creator>
  <cp:lastModifiedBy>Dubashinskii, Ivan</cp:lastModifiedBy>
  <cp:revision>10</cp:revision>
  <cp:lastPrinted>2024-06-06T11:20:58Z</cp:lastPrinted>
  <dcterms:created xsi:type="dcterms:W3CDTF">2023-08-02T09:34:11Z</dcterms:created>
  <dcterms:modified xsi:type="dcterms:W3CDTF">2024-11-29T16:5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677FB687E6C43B0DBDE6FA5448BDB</vt:lpwstr>
  </property>
  <property fmtid="{D5CDD505-2E9C-101B-9397-08002B2CF9AE}" pid="3" name="MediaServiceImageTags">
    <vt:lpwstr/>
  </property>
</Properties>
</file>